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notesSlides/notesSlide6.xml" ContentType="application/vnd.openxmlformats-officedocument.presentationml.notesSlide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724" r:id="rId5"/>
  </p:sldMasterIdLst>
  <p:notesMasterIdLst>
    <p:notesMasterId r:id="rId17"/>
  </p:notesMasterIdLst>
  <p:handoutMasterIdLst>
    <p:handoutMasterId r:id="rId18"/>
  </p:handoutMasterIdLst>
  <p:sldIdLst>
    <p:sldId id="256" r:id="rId6"/>
    <p:sldId id="1871" r:id="rId7"/>
    <p:sldId id="1885" r:id="rId8"/>
    <p:sldId id="1867" r:id="rId9"/>
    <p:sldId id="1224" r:id="rId10"/>
    <p:sldId id="745" r:id="rId11"/>
    <p:sldId id="742" r:id="rId12"/>
    <p:sldId id="277" r:id="rId13"/>
    <p:sldId id="6416" r:id="rId14"/>
    <p:sldId id="733" r:id="rId15"/>
    <p:sldId id="288" r:id="rId16"/>
  </p:sldIdLst>
  <p:sldSz cx="12192000" cy="6858000"/>
  <p:notesSz cx="6797675" cy="9926638"/>
  <p:defaultTextStyle>
    <a:defPPr>
      <a:defRPr lang="da-DK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 section" id="{72A6A128-3936-4E53-AF51-7558D9B95037}">
          <p14:sldIdLst>
            <p14:sldId id="256"/>
            <p14:sldId id="1871"/>
            <p14:sldId id="1885"/>
            <p14:sldId id="1867"/>
            <p14:sldId id="1224"/>
            <p14:sldId id="745"/>
            <p14:sldId id="742"/>
            <p14:sldId id="277"/>
            <p14:sldId id="6416"/>
            <p14:sldId id="733"/>
            <p14:sldId id="288"/>
          </p14:sldIdLst>
        </p14:section>
        <p14:section name="Hidden slides section" id="{7FCCF63D-698B-4044-852A-A11AFB7796DF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asmus Smet Jensen" initials="RSJ" lastIdx="11" clrIdx="0">
    <p:extLst>
      <p:ext uri="{19B8F6BF-5375-455C-9EA6-DF929625EA0E}">
        <p15:presenceInfo xmlns:p15="http://schemas.microsoft.com/office/powerpoint/2012/main" userId="S::rsj@mir-robots.com::77ea09af-1290-4334-a634-99ecde34017e" providerId="AD"/>
      </p:ext>
    </p:extLst>
  </p:cmAuthor>
  <p:cmAuthor id="2" name="Denise Innocenti" initials="DI" lastIdx="3" clrIdx="1">
    <p:extLst>
      <p:ext uri="{19B8F6BF-5375-455C-9EA6-DF929625EA0E}">
        <p15:presenceInfo xmlns:p15="http://schemas.microsoft.com/office/powerpoint/2012/main" userId="S::din@mir-robots.com::9efb3758-380b-46cb-b9a8-833e02a25424" providerId="AD"/>
      </p:ext>
    </p:extLst>
  </p:cmAuthor>
  <p:cmAuthor id="3" name="Mads Ejrnæs Tønder" initials="MET" lastIdx="1" clrIdx="2">
    <p:extLst>
      <p:ext uri="{19B8F6BF-5375-455C-9EA6-DF929625EA0E}">
        <p15:presenceInfo xmlns:p15="http://schemas.microsoft.com/office/powerpoint/2012/main" userId="S::tonder@kogp.dk::7b5bcd5d-e220-4e3f-9ec5-a8105f9c20a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0000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E0ECD30-23DE-4C7E-A08F-A5AC1CEF6000}" v="6" dt="2023-11-23T09:05:14.91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5226" autoAdjust="0"/>
  </p:normalViewPr>
  <p:slideViewPr>
    <p:cSldViewPr>
      <p:cViewPr varScale="1">
        <p:scale>
          <a:sx n="67" d="100"/>
          <a:sy n="67" d="100"/>
        </p:scale>
        <p:origin x="644" y="3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941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629"/>
    </p:cViewPr>
  </p:sorterViewPr>
  <p:notesViewPr>
    <p:cSldViewPr>
      <p:cViewPr varScale="1">
        <p:scale>
          <a:sx n="60" d="100"/>
          <a:sy n="60" d="100"/>
        </p:scale>
        <p:origin x="3274" y="43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lan Knudsen" userId="87208d6c-5652-4174-b7f5-b2d14509cba5" providerId="ADAL" clId="{78318D72-100E-4B85-B6D5-351545F7200F}"/>
    <pc:docChg chg="delSld modSld modSection">
      <pc:chgData name="Allan Knudsen" userId="87208d6c-5652-4174-b7f5-b2d14509cba5" providerId="ADAL" clId="{78318D72-100E-4B85-B6D5-351545F7200F}" dt="2023-11-23T12:36:06.724" v="19" actId="20577"/>
      <pc:docMkLst>
        <pc:docMk/>
      </pc:docMkLst>
      <pc:sldChg chg="del">
        <pc:chgData name="Allan Knudsen" userId="87208d6c-5652-4174-b7f5-b2d14509cba5" providerId="ADAL" clId="{78318D72-100E-4B85-B6D5-351545F7200F}" dt="2023-11-23T12:29:29.557" v="0" actId="2696"/>
        <pc:sldMkLst>
          <pc:docMk/>
          <pc:sldMk cId="876745880" sldId="1223"/>
        </pc:sldMkLst>
      </pc:sldChg>
      <pc:sldChg chg="modSp mod">
        <pc:chgData name="Allan Knudsen" userId="87208d6c-5652-4174-b7f5-b2d14509cba5" providerId="ADAL" clId="{78318D72-100E-4B85-B6D5-351545F7200F}" dt="2023-11-23T12:36:06.724" v="19" actId="20577"/>
        <pc:sldMkLst>
          <pc:docMk/>
          <pc:sldMk cId="1637315538" sldId="1224"/>
        </pc:sldMkLst>
        <pc:spChg chg="mod">
          <ac:chgData name="Allan Knudsen" userId="87208d6c-5652-4174-b7f5-b2d14509cba5" providerId="ADAL" clId="{78318D72-100E-4B85-B6D5-351545F7200F}" dt="2023-11-23T12:36:06.724" v="19" actId="20577"/>
          <ac:spMkLst>
            <pc:docMk/>
            <pc:sldMk cId="1637315538" sldId="1224"/>
            <ac:spMk id="10" creationId="{B0DDE260-C4CA-3846-911A-B8E69D76E4E2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200" b="1" i="0" u="none" strike="noStrike" kern="1200" cap="all" spc="1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Revenue EUR (K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200" b="1" i="0" u="none" strike="noStrike" kern="1200" cap="all" spc="15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da-DK"/>
        </a:p>
      </c:txPr>
    </c:title>
    <c:autoTitleDeleted val="0"/>
    <c:plotArea>
      <c:layout>
        <c:manualLayout>
          <c:layoutTarget val="inner"/>
          <c:xMode val="edge"/>
          <c:yMode val="edge"/>
          <c:x val="0.12610931494490074"/>
          <c:y val="0.17713093240394132"/>
          <c:w val="0.85259281382077867"/>
          <c:h val="0.7329442042080803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Turnover EUR (m)</c:v>
                </c:pt>
              </c:strCache>
            </c:strRef>
          </c:tx>
          <c:spPr>
            <a:pattFill prst="narHorz">
              <a:fgClr>
                <a:schemeClr val="accent2"/>
              </a:fgClr>
              <a:bgClr>
                <a:schemeClr val="accent2">
                  <a:lumMod val="20000"/>
                  <a:lumOff val="80000"/>
                </a:schemeClr>
              </a:bgClr>
            </a:pattFill>
            <a:ln>
              <a:noFill/>
            </a:ln>
            <a:effectLst>
              <a:innerShdw blurRad="114300">
                <a:schemeClr val="accent2"/>
              </a:innerShdw>
            </a:effectLst>
          </c:spPr>
          <c:invertIfNegative val="0"/>
          <c:dLbls>
            <c:delete val="1"/>
          </c:dLbls>
          <c:cat>
            <c:numRef>
              <c:f>'Ark1'!$A$2:$A$8</c:f>
              <c:numCache>
                <c:formatCode>General</c:formatCode>
                <c:ptCount val="7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</c:numCache>
            </c:numRef>
          </c:cat>
          <c:val>
            <c:numRef>
              <c:f>'Ark1'!$B$2:$B$8</c:f>
              <c:numCache>
                <c:formatCode>_-[$€-2]\ * #,##0.00_-;\-[$€-2]\ * #,##0.00_-;_-[$€-2]\ * "-"??_-;_-@_-</c:formatCode>
                <c:ptCount val="7"/>
                <c:pt idx="0">
                  <c:v>670</c:v>
                </c:pt>
                <c:pt idx="1">
                  <c:v>3400</c:v>
                </c:pt>
                <c:pt idx="2">
                  <c:v>10000</c:v>
                </c:pt>
                <c:pt idx="3">
                  <c:v>27000</c:v>
                </c:pt>
                <c:pt idx="4">
                  <c:v>40400</c:v>
                </c:pt>
                <c:pt idx="5">
                  <c:v>40840</c:v>
                </c:pt>
                <c:pt idx="6">
                  <c:v>54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6B4-4847-98FD-1C870A62EC3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64"/>
        <c:overlap val="-22"/>
        <c:axId val="275728952"/>
        <c:axId val="275729280"/>
      </c:barChart>
      <c:catAx>
        <c:axId val="275728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275729280"/>
        <c:crosses val="autoZero"/>
        <c:auto val="1"/>
        <c:lblAlgn val="ctr"/>
        <c:lblOffset val="100"/>
        <c:noMultiLvlLbl val="0"/>
      </c:catAx>
      <c:valAx>
        <c:axId val="275729280"/>
        <c:scaling>
          <c:orientation val="minMax"/>
          <c:max val="60000"/>
        </c:scaling>
        <c:delete val="0"/>
        <c:axPos val="l"/>
        <c:numFmt formatCode="_-[$€-2]\ * #,##0_-;\-[$€-2]\ * #,##0_-;_-[$€-2]\ * &quot;-&quot;_-;_-@_-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275728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a-DK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9050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>
      <cs:styleClr val="auto"/>
    </cs:effectRef>
    <cs:fontRef idx="minor">
      <a:schemeClr val="dk1"/>
    </cs:fontRef>
    <cs:spPr>
      <a:pattFill prst="narHorz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pattFill prst="narHorz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2200" b="1" kern="1200" cap="all" spc="1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44CBDB-E0A5-4653-800E-B2747B5F08C6}" type="datetimeFigureOut">
              <a:rPr lang="da-DK" smtClean="0"/>
              <a:t>23-11-2023</a:t>
            </a:fld>
            <a:endParaRPr lang="da-DK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98DEFF4-B6D5-41C9-B04D-2FC252336508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367976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D8FF86-EBB5-49C3-8EA9-1FF7B3A17EBD}" type="datetimeFigureOut">
              <a:rPr lang="da-DK" smtClean="0"/>
              <a:t>23-11-2023</a:t>
            </a:fld>
            <a:endParaRPr lang="da-DK"/>
          </a:p>
        </p:txBody>
      </p:sp>
      <p:sp>
        <p:nvSpPr>
          <p:cNvPr id="4" name="Pladsholder til dias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97D6B3-27A1-4AFC-9DFA-E99013D84442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347367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97D6B3-27A1-4AFC-9DFA-E99013D84442}" type="slidenum">
              <a:rPr lang="da-DK" smtClean="0"/>
              <a:t>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2494074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0000"/>
              </a:lnSpc>
              <a:buSzPct val="100000"/>
            </a:pPr>
            <a:r>
              <a:rPr lang="da-DK" sz="1700">
                <a:solidFill>
                  <a:schemeClr val="accent2"/>
                </a:solidFill>
              </a:rPr>
              <a:t>We see three reasons why companies are hesitating: </a:t>
            </a:r>
          </a:p>
          <a:p>
            <a:pPr marL="245009" indent="-245009">
              <a:buSzPct val="100000"/>
              <a:buBlip>
                <a:blip r:embed="rId3"/>
              </a:buBlip>
            </a:pPr>
            <a:r>
              <a:rPr lang="da-DK" sz="1700">
                <a:solidFill>
                  <a:schemeClr val="accent2"/>
                </a:solidFill>
              </a:rPr>
              <a:t>A lack of clarity about which technologies will triumph</a:t>
            </a:r>
          </a:p>
          <a:p>
            <a:pPr marL="245009" indent="-245009">
              <a:buSzPct val="100000"/>
              <a:buBlip>
                <a:blip r:embed="rId3"/>
              </a:buBlip>
            </a:pPr>
            <a:r>
              <a:rPr lang="da-DK" sz="1700">
                <a:solidFill>
                  <a:schemeClr val="accent2"/>
                </a:solidFill>
              </a:rPr>
              <a:t>Problems implementing new technologies</a:t>
            </a:r>
          </a:p>
          <a:p>
            <a:pPr marL="245009" indent="-245009">
              <a:buSzPct val="100000"/>
              <a:buBlip>
                <a:blip r:embed="rId3"/>
              </a:buBlip>
            </a:pPr>
            <a:r>
              <a:rPr lang="da-DK" sz="1700">
                <a:solidFill>
                  <a:schemeClr val="accent2"/>
                </a:solidFill>
              </a:rPr>
              <a:t>An asymmetry between the length of contracts with shippers and the much-longer lifetimes of automation equipment and distribution centers</a:t>
            </a:r>
            <a:endParaRPr lang="en-US" sz="1700">
              <a:solidFill>
                <a:schemeClr val="accent2"/>
              </a:solidFill>
            </a:endParaRP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97D6B3-27A1-4AFC-9DFA-E99013D84442}" type="slidenum">
              <a:rPr lang="da-DK" smtClean="0"/>
              <a:t>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569398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97D6B3-27A1-4AFC-9DFA-E99013D84442}" type="slidenum">
              <a:rPr lang="da-DK" smtClean="0"/>
              <a:t>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539748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97D6B3-27A1-4AFC-9DFA-E99013D84442}" type="slidenum">
              <a:rPr lang="da-DK" smtClean="0"/>
              <a:t>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0751096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97D6B3-27A1-4AFC-9DFA-E99013D84442}" type="slidenum">
              <a:rPr lang="da-DK" smtClean="0"/>
              <a:t>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647931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97D6B3-27A1-4AFC-9DFA-E99013D84442}" type="slidenum">
              <a:rPr lang="da-DK" smtClean="0"/>
              <a:t>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672963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97D6B3-27A1-4AFC-9DFA-E99013D84442}" type="slidenum">
              <a:rPr lang="da-DK" smtClean="0"/>
              <a:t>10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221305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7"/>
          <a:stretch/>
        </p:blipFill>
        <p:spPr>
          <a:xfrm>
            <a:off x="0" y="0"/>
            <a:ext cx="1220875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0000" y="1205200"/>
            <a:ext cx="6552000" cy="1935768"/>
          </a:xfrm>
        </p:spPr>
        <p:txBody>
          <a:bodyPr anchor="b" anchorCtr="0">
            <a:noAutofit/>
          </a:bodyPr>
          <a:lstStyle>
            <a:lvl1pPr algn="l">
              <a:lnSpc>
                <a:spcPts val="6800"/>
              </a:lnSpc>
              <a:defRPr sz="7500" cap="none" spc="0" baseline="0">
                <a:solidFill>
                  <a:srgbClr val="FFFFFF"/>
                </a:solidFill>
                <a:latin typeface="+mj-lt"/>
                <a:ea typeface="Adobe Heiti Std R" panose="020B0400000000000000" pitchFamily="34" charset="-128"/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9"/>
          </p:nvPr>
        </p:nvSpPr>
        <p:spPr>
          <a:xfrm>
            <a:off x="727862" y="3645024"/>
            <a:ext cx="2703842" cy="360040"/>
          </a:xfrm>
          <a:prstGeom prst="rect">
            <a:avLst/>
          </a:prstGeom>
        </p:spPr>
        <p:txBody>
          <a:bodyPr/>
          <a:lstStyle>
            <a:lvl1pPr>
              <a:defRPr sz="2000" b="1" cap="none" baseline="0">
                <a:solidFill>
                  <a:srgbClr val="FFFFFF"/>
                </a:solidFill>
              </a:defRPr>
            </a:lvl1pPr>
          </a:lstStyle>
          <a:p>
            <a:fld id="{F7D15FAA-3376-4431-B238-5165FB557C84}" type="datetime4">
              <a:rPr lang="en-GB" smtClean="0"/>
              <a:pPr/>
              <a:t>23 November 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3425904"/>
      </p:ext>
    </p:extLst>
  </p:cSld>
  <p:clrMapOvr>
    <a:masterClrMapping/>
  </p:clrMapOvr>
  <p:transition>
    <p:fade/>
  </p:transition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7"/>
          <a:stretch/>
        </p:blipFill>
        <p:spPr>
          <a:xfrm>
            <a:off x="0" y="0"/>
            <a:ext cx="1220875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0000" y="1205200"/>
            <a:ext cx="6552000" cy="1935768"/>
          </a:xfrm>
        </p:spPr>
        <p:txBody>
          <a:bodyPr anchor="b" anchorCtr="0">
            <a:noAutofit/>
          </a:bodyPr>
          <a:lstStyle>
            <a:lvl1pPr algn="l">
              <a:lnSpc>
                <a:spcPts val="6800"/>
              </a:lnSpc>
              <a:defRPr sz="7500" cap="none" spc="0" baseline="0">
                <a:solidFill>
                  <a:srgbClr val="FFFFFF"/>
                </a:solidFill>
                <a:latin typeface="+mj-lt"/>
                <a:ea typeface="Adobe Heiti Std R" panose="020B0400000000000000" pitchFamily="34" charset="-128"/>
              </a:defRPr>
            </a:lvl1pPr>
          </a:lstStyle>
          <a:p>
            <a:r>
              <a:rPr lang="en-GB" noProof="0"/>
              <a:t>Title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9"/>
          </p:nvPr>
        </p:nvSpPr>
        <p:spPr>
          <a:xfrm>
            <a:off x="727862" y="3645024"/>
            <a:ext cx="2703842" cy="360040"/>
          </a:xfrm>
          <a:prstGeom prst="rect">
            <a:avLst/>
          </a:prstGeom>
        </p:spPr>
        <p:txBody>
          <a:bodyPr/>
          <a:lstStyle>
            <a:lvl1pPr>
              <a:defRPr sz="2000" b="1" cap="none" baseline="0">
                <a:solidFill>
                  <a:srgbClr val="FFFFFF"/>
                </a:solidFill>
              </a:defRPr>
            </a:lvl1pPr>
          </a:lstStyle>
          <a:p>
            <a:fld id="{F7D15FAA-3376-4431-B238-5165FB557C84}" type="datetime4">
              <a:rPr lang="en-GB" smtClean="0"/>
              <a:pPr/>
              <a:t>23 November 20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3225166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3"/>
          <a:stretch/>
        </p:blipFill>
        <p:spPr>
          <a:xfrm>
            <a:off x="0" y="0"/>
            <a:ext cx="12197142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0000" y="1700808"/>
            <a:ext cx="6552000" cy="1440160"/>
          </a:xfrm>
        </p:spPr>
        <p:txBody>
          <a:bodyPr anchor="b" anchorCtr="0">
            <a:noAutofit/>
          </a:bodyPr>
          <a:lstStyle>
            <a:lvl1pPr algn="l">
              <a:lnSpc>
                <a:spcPts val="6000"/>
              </a:lnSpc>
              <a:defRPr sz="5000" cap="none" spc="0" baseline="0">
                <a:solidFill>
                  <a:schemeClr val="accent2"/>
                </a:solidFill>
                <a:latin typeface="+mj-lt"/>
                <a:ea typeface="Adobe Heiti Std R" panose="020B0400000000000000" pitchFamily="34" charset="-128"/>
              </a:defRPr>
            </a:lvl1pPr>
          </a:lstStyle>
          <a:p>
            <a:r>
              <a:rPr lang="en-GB" noProof="0"/>
              <a:t>Breaker title</a:t>
            </a:r>
          </a:p>
        </p:txBody>
      </p:sp>
      <p:pic>
        <p:nvPicPr>
          <p:cNvPr id="7" name="Billede 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748" b="89426"/>
          <a:stretch/>
        </p:blipFill>
        <p:spPr>
          <a:xfrm>
            <a:off x="10703670" y="0"/>
            <a:ext cx="1493472" cy="756319"/>
          </a:xfrm>
          <a:prstGeom prst="rect">
            <a:avLst/>
          </a:prstGeom>
        </p:spPr>
      </p:pic>
      <p:sp>
        <p:nvSpPr>
          <p:cNvPr id="8" name="Pladsholder til tekst 7"/>
          <p:cNvSpPr>
            <a:spLocks noGrp="1"/>
          </p:cNvSpPr>
          <p:nvPr>
            <p:ph type="body" sz="quarter" idx="10" hasCustomPrompt="1"/>
          </p:nvPr>
        </p:nvSpPr>
        <p:spPr>
          <a:xfrm>
            <a:off x="720000" y="3600276"/>
            <a:ext cx="6553200" cy="1196876"/>
          </a:xfrm>
        </p:spPr>
        <p:txBody>
          <a:bodyPr/>
          <a:lstStyle>
            <a:lvl1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20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/>
              <a:t>Additional breaker text</a:t>
            </a:r>
          </a:p>
        </p:txBody>
      </p:sp>
    </p:spTree>
    <p:extLst>
      <p:ext uri="{BB962C8B-B14F-4D97-AF65-F5344CB8AC3E}">
        <p14:creationId xmlns:p14="http://schemas.microsoft.com/office/powerpoint/2010/main" val="3247373898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tekst 12"/>
          <p:cNvSpPr>
            <a:spLocks noGrp="1"/>
          </p:cNvSpPr>
          <p:nvPr>
            <p:ph type="body" sz="quarter" idx="15" hasCustomPrompt="1"/>
          </p:nvPr>
        </p:nvSpPr>
        <p:spPr>
          <a:xfrm>
            <a:off x="720000" y="1908000"/>
            <a:ext cx="10368000" cy="3708000"/>
          </a:xfrm>
        </p:spPr>
        <p:txBody>
          <a:bodyPr/>
          <a:lstStyle>
            <a:lvl1pPr>
              <a:spcBef>
                <a:spcPts val="600"/>
              </a:spcBef>
              <a:defRPr sz="2000">
                <a:solidFill>
                  <a:schemeClr val="accent2"/>
                </a:solidFill>
              </a:defRPr>
            </a:lvl1pPr>
            <a:lvl2pPr>
              <a:spcBef>
                <a:spcPts val="600"/>
              </a:spcBef>
              <a:defRPr sz="2000">
                <a:solidFill>
                  <a:schemeClr val="accent2"/>
                </a:solidFill>
              </a:defRPr>
            </a:lvl2pPr>
            <a:lvl3pPr>
              <a:spcBef>
                <a:spcPts val="600"/>
              </a:spcBef>
              <a:defRPr sz="2000">
                <a:solidFill>
                  <a:schemeClr val="accent2"/>
                </a:solidFill>
              </a:defRPr>
            </a:lvl3pPr>
            <a:lvl4pPr>
              <a:spcBef>
                <a:spcPts val="600"/>
              </a:spcBef>
              <a:defRPr sz="2000">
                <a:solidFill>
                  <a:schemeClr val="accent2"/>
                </a:solidFill>
              </a:defRPr>
            </a:lvl4pPr>
            <a:lvl5pPr>
              <a:spcBef>
                <a:spcPts val="6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17" name="Pladsholder til tekst 2"/>
          <p:cNvSpPr txBox="1">
            <a:spLocks/>
          </p:cNvSpPr>
          <p:nvPr userDrawn="1"/>
        </p:nvSpPr>
        <p:spPr>
          <a:xfrm>
            <a:off x="1337520" y="6444000"/>
            <a:ext cx="288000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65125" indent="-365125" algn="l" defTabSz="914378" rtl="0" eaLnBrk="1" latinLnBrk="0" hangingPunct="1">
              <a:lnSpc>
                <a:spcPct val="100000"/>
              </a:lnSpc>
              <a:spcBef>
                <a:spcPts val="0"/>
              </a:spcBef>
              <a:buClrTx/>
              <a:buSzPct val="100000"/>
              <a:buFont typeface="Arial" panose="020B0604020202020204" pitchFamily="34" charset="0"/>
              <a:buChar char="•"/>
              <a:defRPr lang="nn-NO" sz="24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5963" indent="-350838" algn="l" defTabSz="914378" rtl="0" eaLnBrk="1" latinLnBrk="0" hangingPunct="1">
              <a:lnSpc>
                <a:spcPct val="100000"/>
              </a:lnSpc>
              <a:spcBef>
                <a:spcPts val="0"/>
              </a:spcBef>
              <a:buClrTx/>
              <a:buSzPct val="100000"/>
              <a:buFont typeface="Arial" panose="020B0604020202020204" pitchFamily="34" charset="0"/>
              <a:buChar char="–"/>
              <a:defRPr lang="nn-NO" sz="22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8862" indent="-342900" algn="l" defTabSz="914378" rtl="0" eaLnBrk="1" latinLnBrk="0" hangingPunct="1">
              <a:lnSpc>
                <a:spcPct val="100000"/>
              </a:lnSpc>
              <a:spcBef>
                <a:spcPts val="0"/>
              </a:spcBef>
              <a:buClrTx/>
              <a:buSzPct val="100000"/>
              <a:buFont typeface="Arial" panose="020B0604020202020204" pitchFamily="34" charset="0"/>
              <a:buChar char="–"/>
              <a:defRPr lang="nn-NO" sz="22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1925" indent="-349250" algn="l" defTabSz="914378" rtl="0" eaLnBrk="1" latinLnBrk="0" hangingPunct="1">
              <a:lnSpc>
                <a:spcPct val="100000"/>
              </a:lnSpc>
              <a:spcBef>
                <a:spcPts val="0"/>
              </a:spcBef>
              <a:buClrTx/>
              <a:buSzPct val="100000"/>
              <a:buFont typeface="Arial" panose="020B0604020202020204" pitchFamily="34" charset="0"/>
              <a:buChar char="–"/>
              <a:defRPr lang="nn-NO" sz="22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8638" indent="-366713" algn="l" defTabSz="914378" rtl="0" eaLnBrk="1" latinLnBrk="0" hangingPunct="1">
              <a:lnSpc>
                <a:spcPct val="100000"/>
              </a:lnSpc>
              <a:spcBef>
                <a:spcPts val="0"/>
              </a:spcBef>
              <a:buClrTx/>
              <a:buSzPct val="100000"/>
              <a:buFont typeface="Arial" panose="020B0604020202020204" pitchFamily="34" charset="0"/>
              <a:buChar char="‒"/>
              <a:defRPr lang="nn-NO" sz="2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700" noProof="0">
                <a:solidFill>
                  <a:srgbClr val="FFFFFF"/>
                </a:solidFill>
                <a:latin typeface="Montserrat SemiBold" panose="00000700000000000000" pitchFamily="2" charset="0"/>
              </a:rPr>
              <a:t>PAGE</a:t>
            </a:r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471EAA7-3162-4B69-9563-88D5A3B75B9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Agenda heading</a:t>
            </a:r>
          </a:p>
        </p:txBody>
      </p:sp>
    </p:spTree>
    <p:extLst>
      <p:ext uri="{BB962C8B-B14F-4D97-AF65-F5344CB8AC3E}">
        <p14:creationId xmlns:p14="http://schemas.microsoft.com/office/powerpoint/2010/main" val="13808709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, 1 col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ladsholder til tekst 2"/>
          <p:cNvSpPr txBox="1">
            <a:spLocks/>
          </p:cNvSpPr>
          <p:nvPr userDrawn="1"/>
        </p:nvSpPr>
        <p:spPr>
          <a:xfrm>
            <a:off x="1337520" y="6444000"/>
            <a:ext cx="288000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65125" indent="-365125" algn="l" defTabSz="914378" rtl="0" eaLnBrk="1" latinLnBrk="0" hangingPunct="1">
              <a:lnSpc>
                <a:spcPct val="100000"/>
              </a:lnSpc>
              <a:spcBef>
                <a:spcPts val="0"/>
              </a:spcBef>
              <a:buClrTx/>
              <a:buSzPct val="100000"/>
              <a:buFont typeface="Arial" panose="020B0604020202020204" pitchFamily="34" charset="0"/>
              <a:buChar char="•"/>
              <a:defRPr lang="nn-NO" sz="24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5963" indent="-350838" algn="l" defTabSz="914378" rtl="0" eaLnBrk="1" latinLnBrk="0" hangingPunct="1">
              <a:lnSpc>
                <a:spcPct val="100000"/>
              </a:lnSpc>
              <a:spcBef>
                <a:spcPts val="0"/>
              </a:spcBef>
              <a:buClrTx/>
              <a:buSzPct val="100000"/>
              <a:buFont typeface="Arial" panose="020B0604020202020204" pitchFamily="34" charset="0"/>
              <a:buChar char="–"/>
              <a:defRPr lang="nn-NO" sz="22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8862" indent="-342900" algn="l" defTabSz="914378" rtl="0" eaLnBrk="1" latinLnBrk="0" hangingPunct="1">
              <a:lnSpc>
                <a:spcPct val="100000"/>
              </a:lnSpc>
              <a:spcBef>
                <a:spcPts val="0"/>
              </a:spcBef>
              <a:buClrTx/>
              <a:buSzPct val="100000"/>
              <a:buFont typeface="Arial" panose="020B0604020202020204" pitchFamily="34" charset="0"/>
              <a:buChar char="–"/>
              <a:defRPr lang="nn-NO" sz="22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1925" indent="-349250" algn="l" defTabSz="914378" rtl="0" eaLnBrk="1" latinLnBrk="0" hangingPunct="1">
              <a:lnSpc>
                <a:spcPct val="100000"/>
              </a:lnSpc>
              <a:spcBef>
                <a:spcPts val="0"/>
              </a:spcBef>
              <a:buClrTx/>
              <a:buSzPct val="100000"/>
              <a:buFont typeface="Arial" panose="020B0604020202020204" pitchFamily="34" charset="0"/>
              <a:buChar char="–"/>
              <a:defRPr lang="nn-NO" sz="22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8638" indent="-366713" algn="l" defTabSz="914378" rtl="0" eaLnBrk="1" latinLnBrk="0" hangingPunct="1">
              <a:lnSpc>
                <a:spcPct val="100000"/>
              </a:lnSpc>
              <a:spcBef>
                <a:spcPts val="0"/>
              </a:spcBef>
              <a:buClrTx/>
              <a:buSzPct val="100000"/>
              <a:buFont typeface="Arial" panose="020B0604020202020204" pitchFamily="34" charset="0"/>
              <a:buChar char="‒"/>
              <a:defRPr lang="nn-NO" sz="2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700" noProof="0">
                <a:solidFill>
                  <a:srgbClr val="FFFFFF"/>
                </a:solidFill>
                <a:latin typeface="Montserrat SemiBold" panose="00000700000000000000" pitchFamily="2" charset="0"/>
              </a:rPr>
              <a:t>PAGE</a:t>
            </a:r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471EAA7-3162-4B69-9563-88D5A3B75B9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ing</a:t>
            </a:r>
          </a:p>
        </p:txBody>
      </p:sp>
      <p:sp>
        <p:nvSpPr>
          <p:cNvPr id="14" name="Pladsholder til tekst 12">
            <a:extLst>
              <a:ext uri="{FF2B5EF4-FFF2-40B4-BE49-F238E27FC236}">
                <a16:creationId xmlns:a16="http://schemas.microsoft.com/office/drawing/2014/main" id="{63C5A6E8-B145-4F2B-919B-1A632E0E7AB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000" y="1908000"/>
            <a:ext cx="10368000" cy="3708000"/>
          </a:xfrm>
        </p:spPr>
        <p:txBody>
          <a:bodyPr/>
          <a:lstStyle>
            <a:lvl1pPr>
              <a:spcBef>
                <a:spcPts val="600"/>
              </a:spcBef>
              <a:defRPr sz="2000">
                <a:solidFill>
                  <a:schemeClr val="accent2"/>
                </a:solidFill>
              </a:defRPr>
            </a:lvl1pPr>
            <a:lvl2pPr>
              <a:spcBef>
                <a:spcPts val="600"/>
              </a:spcBef>
              <a:defRPr sz="2000">
                <a:solidFill>
                  <a:schemeClr val="accent2"/>
                </a:solidFill>
              </a:defRPr>
            </a:lvl2pPr>
            <a:lvl3pPr>
              <a:spcBef>
                <a:spcPts val="600"/>
              </a:spcBef>
              <a:defRPr sz="2000">
                <a:solidFill>
                  <a:schemeClr val="accent2"/>
                </a:solidFill>
              </a:defRPr>
            </a:lvl3pPr>
            <a:lvl4pPr>
              <a:spcBef>
                <a:spcPts val="600"/>
              </a:spcBef>
              <a:defRPr sz="2000">
                <a:solidFill>
                  <a:schemeClr val="accent2"/>
                </a:solidFill>
              </a:defRPr>
            </a:lvl4pPr>
            <a:lvl5pPr>
              <a:spcBef>
                <a:spcPts val="6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Text (remove bullet for plain text – and mark a line with Bold and “Blue, </a:t>
            </a:r>
            <a:r>
              <a:rPr lang="en-GB" noProof="0" err="1"/>
              <a:t>color</a:t>
            </a:r>
            <a:r>
              <a:rPr lang="en-GB" noProof="0"/>
              <a:t> 1” from Theme colours, if you need a sub heading)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8045265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, 2 col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6"/>
          <p:cNvSpPr>
            <a:spLocks noGrp="1"/>
          </p:cNvSpPr>
          <p:nvPr>
            <p:ph type="body" sz="quarter" idx="10" hasCustomPrompt="1"/>
          </p:nvPr>
        </p:nvSpPr>
        <p:spPr>
          <a:xfrm>
            <a:off x="720000" y="1908000"/>
            <a:ext cx="4932000" cy="3708000"/>
          </a:xfrm>
        </p:spPr>
        <p:txBody>
          <a:bodyPr/>
          <a:lstStyle>
            <a:lvl1pPr>
              <a:defRPr sz="2000" baseline="0">
                <a:solidFill>
                  <a:schemeClr val="accent2"/>
                </a:solidFill>
              </a:defRPr>
            </a:lvl1pPr>
            <a:lvl2pPr>
              <a:defRPr sz="2000">
                <a:solidFill>
                  <a:schemeClr val="accent2"/>
                </a:solidFill>
              </a:defRPr>
            </a:lvl2pPr>
            <a:lvl3pPr>
              <a:defRPr sz="2000">
                <a:solidFill>
                  <a:schemeClr val="accent2"/>
                </a:solidFill>
              </a:defRPr>
            </a:lvl3pPr>
            <a:lvl4pPr>
              <a:defRPr sz="2000">
                <a:solidFill>
                  <a:schemeClr val="accent2"/>
                </a:solidFill>
              </a:defRPr>
            </a:lvl4pPr>
            <a:lvl5pPr>
              <a:defRPr sz="2000"/>
            </a:lvl5pPr>
          </a:lstStyle>
          <a:p>
            <a:pPr lvl="0"/>
            <a:r>
              <a:rPr lang="en-GB" noProof="0"/>
              <a:t>Text (remove bullet for plain text – and mark a line with Bold and “Blue, </a:t>
            </a:r>
            <a:r>
              <a:rPr lang="en-GB" noProof="0" err="1"/>
              <a:t>color</a:t>
            </a:r>
            <a:r>
              <a:rPr lang="en-GB" noProof="0"/>
              <a:t> 1” from Theme colours, if you need a sub heading)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6168008" y="1908000"/>
            <a:ext cx="4932000" cy="3708000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</a:defRPr>
            </a:lvl1pPr>
            <a:lvl2pPr>
              <a:defRPr sz="2000">
                <a:solidFill>
                  <a:schemeClr val="accent2"/>
                </a:solidFill>
              </a:defRPr>
            </a:lvl2pPr>
            <a:lvl3pPr>
              <a:defRPr sz="2000">
                <a:solidFill>
                  <a:schemeClr val="accent2"/>
                </a:solidFill>
              </a:defRPr>
            </a:lvl3pPr>
            <a:lvl4pPr>
              <a:defRPr sz="2000">
                <a:solidFill>
                  <a:schemeClr val="accent2"/>
                </a:solidFill>
              </a:defRPr>
            </a:lvl4pPr>
            <a:lvl5pPr>
              <a:defRPr sz="2000"/>
            </a:lvl5pPr>
          </a:lstStyle>
          <a:p>
            <a:pPr lvl="0"/>
            <a:r>
              <a:rPr lang="en-GB" noProof="0"/>
              <a:t>Text (remove bullet for plain text – and mark a line with Bold and “Blue, </a:t>
            </a:r>
            <a:r>
              <a:rPr lang="en-GB" noProof="0" err="1"/>
              <a:t>color</a:t>
            </a:r>
            <a:r>
              <a:rPr lang="en-GB" noProof="0"/>
              <a:t> 1” from Theme colours, if you need a sub heading)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ing</a:t>
            </a:r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71EAA7-3162-4B69-9563-88D5A3B75B9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0773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6"/>
          <p:cNvSpPr>
            <a:spLocks noGrp="1"/>
          </p:cNvSpPr>
          <p:nvPr>
            <p:ph type="body" sz="quarter" idx="10" hasCustomPrompt="1"/>
          </p:nvPr>
        </p:nvSpPr>
        <p:spPr>
          <a:xfrm>
            <a:off x="720000" y="1908000"/>
            <a:ext cx="4932000" cy="3708000"/>
          </a:xfrm>
        </p:spPr>
        <p:txBody>
          <a:bodyPr/>
          <a:lstStyle>
            <a:lvl1pPr>
              <a:defRPr sz="2000" baseline="0">
                <a:solidFill>
                  <a:schemeClr val="accent2"/>
                </a:solidFill>
              </a:defRPr>
            </a:lvl1pPr>
            <a:lvl2pPr>
              <a:defRPr sz="2000">
                <a:solidFill>
                  <a:schemeClr val="accent2"/>
                </a:solidFill>
              </a:defRPr>
            </a:lvl2pPr>
            <a:lvl3pPr>
              <a:defRPr sz="2000">
                <a:solidFill>
                  <a:schemeClr val="accent2"/>
                </a:solidFill>
              </a:defRPr>
            </a:lvl3pPr>
            <a:lvl4pPr>
              <a:defRPr sz="2000">
                <a:solidFill>
                  <a:schemeClr val="accent2"/>
                </a:solidFill>
              </a:defRPr>
            </a:lvl4pPr>
            <a:lvl5pPr>
              <a:defRPr sz="2000"/>
            </a:lvl5pPr>
          </a:lstStyle>
          <a:p>
            <a:pPr lvl="0"/>
            <a:r>
              <a:rPr lang="en-GB" noProof="0"/>
              <a:t>Text (remove bullet for plain text – and mark a line with Bold and “Blue, </a:t>
            </a:r>
            <a:r>
              <a:rPr lang="en-GB" noProof="0" err="1"/>
              <a:t>color</a:t>
            </a:r>
            <a:r>
              <a:rPr lang="en-GB" noProof="0"/>
              <a:t> 1” from Theme colours, if you need a sub heading)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ing</a:t>
            </a:r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71EAA7-3162-4B69-9563-88D5A3B75B9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Pladsholder til billede 5"/>
          <p:cNvSpPr>
            <a:spLocks noGrp="1"/>
          </p:cNvSpPr>
          <p:nvPr>
            <p:ph type="pic" sz="quarter" idx="13" hasCustomPrompt="1"/>
          </p:nvPr>
        </p:nvSpPr>
        <p:spPr>
          <a:xfrm>
            <a:off x="6167438" y="1908175"/>
            <a:ext cx="4932000" cy="37084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 noProof="0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34016156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6"/>
          <p:cNvSpPr>
            <a:spLocks noGrp="1"/>
          </p:cNvSpPr>
          <p:nvPr>
            <p:ph type="body" sz="quarter" idx="10" hasCustomPrompt="1"/>
          </p:nvPr>
        </p:nvSpPr>
        <p:spPr>
          <a:xfrm>
            <a:off x="720000" y="1908000"/>
            <a:ext cx="3240000" cy="3708000"/>
          </a:xfrm>
        </p:spPr>
        <p:txBody>
          <a:bodyPr/>
          <a:lstStyle>
            <a:lvl1pPr>
              <a:defRPr sz="2000" baseline="0">
                <a:solidFill>
                  <a:schemeClr val="accent2"/>
                </a:solidFill>
              </a:defRPr>
            </a:lvl1pPr>
            <a:lvl2pPr>
              <a:defRPr sz="2000">
                <a:solidFill>
                  <a:schemeClr val="accent2"/>
                </a:solidFill>
              </a:defRPr>
            </a:lvl2pPr>
            <a:lvl3pPr>
              <a:defRPr sz="2000">
                <a:solidFill>
                  <a:schemeClr val="accent2"/>
                </a:solidFill>
              </a:defRPr>
            </a:lvl3pPr>
            <a:lvl4pPr>
              <a:defRPr sz="2000">
                <a:solidFill>
                  <a:schemeClr val="accent2"/>
                </a:solidFill>
              </a:defRPr>
            </a:lvl4pPr>
            <a:lvl5pPr>
              <a:defRPr sz="2000"/>
            </a:lvl5pPr>
          </a:lstStyle>
          <a:p>
            <a:pPr lvl="0"/>
            <a:r>
              <a:rPr lang="en-GB" noProof="0"/>
              <a:t>Text (remove bullet for plain text – and mark a line with Bold and “Blue, </a:t>
            </a:r>
            <a:r>
              <a:rPr lang="en-GB" noProof="0" err="1"/>
              <a:t>color</a:t>
            </a:r>
            <a:r>
              <a:rPr lang="en-GB" noProof="0"/>
              <a:t> 1” from Theme colours, if you need a sub heading)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ing</a:t>
            </a:r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71EAA7-3162-4B69-9563-88D5A3B75B9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Pladsholder til billede 5"/>
          <p:cNvSpPr>
            <a:spLocks noGrp="1"/>
          </p:cNvSpPr>
          <p:nvPr>
            <p:ph type="pic" sz="quarter" idx="13" hasCustomPrompt="1"/>
          </p:nvPr>
        </p:nvSpPr>
        <p:spPr>
          <a:xfrm>
            <a:off x="4293992" y="1908175"/>
            <a:ext cx="3240000" cy="37080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 noProof="0"/>
              <a:t>Picture</a:t>
            </a:r>
          </a:p>
        </p:txBody>
      </p:sp>
      <p:sp>
        <p:nvSpPr>
          <p:cNvPr id="8" name="Pladsholder til billede 5"/>
          <p:cNvSpPr>
            <a:spLocks noGrp="1"/>
          </p:cNvSpPr>
          <p:nvPr>
            <p:ph type="pic" sz="quarter" idx="14" hasCustomPrompt="1"/>
          </p:nvPr>
        </p:nvSpPr>
        <p:spPr>
          <a:xfrm>
            <a:off x="7867984" y="1908175"/>
            <a:ext cx="3240000" cy="37080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 noProof="0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4443832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3 imag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ing</a:t>
            </a:r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71EAA7-3162-4B69-9563-88D5A3B75B9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Pladsholder til billede 5"/>
          <p:cNvSpPr>
            <a:spLocks noGrp="1"/>
          </p:cNvSpPr>
          <p:nvPr>
            <p:ph type="pic" sz="quarter" idx="13" hasCustomPrompt="1"/>
          </p:nvPr>
        </p:nvSpPr>
        <p:spPr>
          <a:xfrm>
            <a:off x="4293992" y="1865311"/>
            <a:ext cx="3204000" cy="32040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 noProof="0"/>
              <a:t>Picture</a:t>
            </a:r>
          </a:p>
        </p:txBody>
      </p:sp>
      <p:sp>
        <p:nvSpPr>
          <p:cNvPr id="8" name="Pladsholder til billede 5"/>
          <p:cNvSpPr>
            <a:spLocks noGrp="1"/>
          </p:cNvSpPr>
          <p:nvPr>
            <p:ph type="pic" sz="quarter" idx="14" hasCustomPrompt="1"/>
          </p:nvPr>
        </p:nvSpPr>
        <p:spPr>
          <a:xfrm>
            <a:off x="7854737" y="1864800"/>
            <a:ext cx="3204000" cy="32040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 noProof="0"/>
              <a:t>Picture</a:t>
            </a:r>
          </a:p>
        </p:txBody>
      </p:sp>
      <p:sp>
        <p:nvSpPr>
          <p:cNvPr id="9" name="Pladsholder til billede 5"/>
          <p:cNvSpPr>
            <a:spLocks noGrp="1"/>
          </p:cNvSpPr>
          <p:nvPr>
            <p:ph type="pic" sz="quarter" idx="15" hasCustomPrompt="1"/>
          </p:nvPr>
        </p:nvSpPr>
        <p:spPr>
          <a:xfrm>
            <a:off x="720000" y="1865310"/>
            <a:ext cx="3204000" cy="32040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 noProof="0"/>
              <a:t>Picture</a:t>
            </a:r>
          </a:p>
        </p:txBody>
      </p:sp>
      <p:sp>
        <p:nvSpPr>
          <p:cNvPr id="14" name="Pladsholder til tekst 6"/>
          <p:cNvSpPr>
            <a:spLocks noGrp="1"/>
          </p:cNvSpPr>
          <p:nvPr>
            <p:ph type="body" sz="quarter" idx="19" hasCustomPrompt="1"/>
          </p:nvPr>
        </p:nvSpPr>
        <p:spPr>
          <a:xfrm>
            <a:off x="7855200" y="5148000"/>
            <a:ext cx="3204000" cy="198000"/>
          </a:xfrm>
        </p:spPr>
        <p:txBody>
          <a:bodyPr/>
          <a:lstStyle>
            <a:lvl1pPr marL="0" indent="0">
              <a:lnSpc>
                <a:spcPts val="1300"/>
              </a:lnSpc>
              <a:spcBef>
                <a:spcPts val="0"/>
              </a:spcBef>
              <a:buFontTx/>
              <a:buNone/>
              <a:defRPr sz="1200" b="1" baseline="0">
                <a:solidFill>
                  <a:schemeClr val="accent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GB" noProof="0"/>
              <a:t>Heading</a:t>
            </a:r>
          </a:p>
        </p:txBody>
      </p:sp>
      <p:sp>
        <p:nvSpPr>
          <p:cNvPr id="15" name="Pladsholder til tekst 6"/>
          <p:cNvSpPr>
            <a:spLocks noGrp="1"/>
          </p:cNvSpPr>
          <p:nvPr>
            <p:ph type="body" sz="quarter" idx="20" hasCustomPrompt="1"/>
          </p:nvPr>
        </p:nvSpPr>
        <p:spPr>
          <a:xfrm>
            <a:off x="7855200" y="5353200"/>
            <a:ext cx="3204000" cy="684000"/>
          </a:xfrm>
        </p:spPr>
        <p:txBody>
          <a:bodyPr/>
          <a:lstStyle>
            <a:lvl1pPr marL="0" indent="0">
              <a:lnSpc>
                <a:spcPts val="1300"/>
              </a:lnSpc>
              <a:spcBef>
                <a:spcPts val="0"/>
              </a:spcBef>
              <a:buFontTx/>
              <a:buNone/>
              <a:defRPr sz="1200" baseline="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GB" noProof="0"/>
              <a:t>Text </a:t>
            </a:r>
          </a:p>
        </p:txBody>
      </p:sp>
      <p:sp>
        <p:nvSpPr>
          <p:cNvPr id="16" name="Pladsholder til tekst 6"/>
          <p:cNvSpPr>
            <a:spLocks noGrp="1"/>
          </p:cNvSpPr>
          <p:nvPr>
            <p:ph type="body" sz="quarter" idx="21" hasCustomPrompt="1"/>
          </p:nvPr>
        </p:nvSpPr>
        <p:spPr>
          <a:xfrm>
            <a:off x="4293992" y="5148000"/>
            <a:ext cx="3204000" cy="198000"/>
          </a:xfrm>
        </p:spPr>
        <p:txBody>
          <a:bodyPr/>
          <a:lstStyle>
            <a:lvl1pPr marL="0" indent="0">
              <a:lnSpc>
                <a:spcPts val="1300"/>
              </a:lnSpc>
              <a:spcBef>
                <a:spcPts val="0"/>
              </a:spcBef>
              <a:buFontTx/>
              <a:buNone/>
              <a:defRPr sz="1200" b="1" baseline="0">
                <a:solidFill>
                  <a:schemeClr val="accent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GB" noProof="0"/>
              <a:t>Heading</a:t>
            </a:r>
          </a:p>
        </p:txBody>
      </p:sp>
      <p:sp>
        <p:nvSpPr>
          <p:cNvPr id="17" name="Pladsholder til tekst 6"/>
          <p:cNvSpPr>
            <a:spLocks noGrp="1"/>
          </p:cNvSpPr>
          <p:nvPr>
            <p:ph type="body" sz="quarter" idx="22" hasCustomPrompt="1"/>
          </p:nvPr>
        </p:nvSpPr>
        <p:spPr>
          <a:xfrm>
            <a:off x="4294800" y="5353200"/>
            <a:ext cx="3204000" cy="684000"/>
          </a:xfrm>
        </p:spPr>
        <p:txBody>
          <a:bodyPr/>
          <a:lstStyle>
            <a:lvl1pPr marL="0" indent="0">
              <a:lnSpc>
                <a:spcPts val="1300"/>
              </a:lnSpc>
              <a:spcBef>
                <a:spcPts val="0"/>
              </a:spcBef>
              <a:buFontTx/>
              <a:buNone/>
              <a:defRPr sz="1200" baseline="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GB" noProof="0"/>
              <a:t>Text </a:t>
            </a:r>
          </a:p>
        </p:txBody>
      </p:sp>
      <p:sp>
        <p:nvSpPr>
          <p:cNvPr id="18" name="Pladsholder til tekst 6"/>
          <p:cNvSpPr>
            <a:spLocks noGrp="1"/>
          </p:cNvSpPr>
          <p:nvPr>
            <p:ph type="body" sz="quarter" idx="23" hasCustomPrompt="1"/>
          </p:nvPr>
        </p:nvSpPr>
        <p:spPr>
          <a:xfrm>
            <a:off x="720000" y="5148000"/>
            <a:ext cx="3204000" cy="198000"/>
          </a:xfrm>
        </p:spPr>
        <p:txBody>
          <a:bodyPr/>
          <a:lstStyle>
            <a:lvl1pPr marL="0" indent="0">
              <a:lnSpc>
                <a:spcPts val="1300"/>
              </a:lnSpc>
              <a:spcBef>
                <a:spcPts val="0"/>
              </a:spcBef>
              <a:buFontTx/>
              <a:buNone/>
              <a:defRPr sz="1200" b="1" baseline="0">
                <a:solidFill>
                  <a:schemeClr val="accent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GB" noProof="0"/>
              <a:t>Heading</a:t>
            </a:r>
          </a:p>
        </p:txBody>
      </p:sp>
      <p:sp>
        <p:nvSpPr>
          <p:cNvPr id="19" name="Pladsholder til tekst 6"/>
          <p:cNvSpPr>
            <a:spLocks noGrp="1"/>
          </p:cNvSpPr>
          <p:nvPr>
            <p:ph type="body" sz="quarter" idx="24" hasCustomPrompt="1"/>
          </p:nvPr>
        </p:nvSpPr>
        <p:spPr>
          <a:xfrm>
            <a:off x="720000" y="5354675"/>
            <a:ext cx="3204000" cy="684000"/>
          </a:xfrm>
        </p:spPr>
        <p:txBody>
          <a:bodyPr/>
          <a:lstStyle>
            <a:lvl1pPr marL="0" indent="0">
              <a:lnSpc>
                <a:spcPts val="1300"/>
              </a:lnSpc>
              <a:spcBef>
                <a:spcPts val="0"/>
              </a:spcBef>
              <a:buFontTx/>
              <a:buNone/>
              <a:defRPr sz="1200" baseline="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GB" noProof="0"/>
              <a:t>Text </a:t>
            </a:r>
          </a:p>
        </p:txBody>
      </p:sp>
    </p:spTree>
    <p:extLst>
      <p:ext uri="{BB962C8B-B14F-4D97-AF65-F5344CB8AC3E}">
        <p14:creationId xmlns:p14="http://schemas.microsoft.com/office/powerpoint/2010/main" val="8405537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ing</a:t>
            </a:r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71EAA7-3162-4B69-9563-88D5A3B75B9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Pladsholder til diagram 2"/>
          <p:cNvSpPr>
            <a:spLocks noGrp="1"/>
          </p:cNvSpPr>
          <p:nvPr>
            <p:ph type="chart" sz="quarter" idx="13" hasCustomPrompt="1"/>
          </p:nvPr>
        </p:nvSpPr>
        <p:spPr>
          <a:xfrm>
            <a:off x="720000" y="1908000"/>
            <a:ext cx="8424000" cy="3708400"/>
          </a:xfrm>
        </p:spPr>
        <p:txBody>
          <a:bodyPr/>
          <a:lstStyle>
            <a:lvl1pPr marL="0" indent="0">
              <a:buFontTx/>
              <a:buNone/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GB" noProof="0"/>
              <a:t>Chart – see guidelines to the left</a:t>
            </a:r>
          </a:p>
        </p:txBody>
      </p:sp>
      <p:sp>
        <p:nvSpPr>
          <p:cNvPr id="9" name="Tekstfelt 8"/>
          <p:cNvSpPr txBox="1"/>
          <p:nvPr userDrawn="1"/>
        </p:nvSpPr>
        <p:spPr>
          <a:xfrm>
            <a:off x="-3409056" y="6801"/>
            <a:ext cx="3265040" cy="6560245"/>
          </a:xfrm>
          <a:prstGeom prst="rect">
            <a:avLst/>
          </a:prstGeom>
          <a:solidFill>
            <a:srgbClr val="FFFFFF"/>
          </a:solidFill>
        </p:spPr>
        <p:txBody>
          <a:bodyPr wrap="square" lIns="48000" tIns="48000" rIns="48000" bIns="48000" rtlCol="0">
            <a:spAutoFit/>
          </a:bodyPr>
          <a:lstStyle/>
          <a:p>
            <a:r>
              <a:rPr lang="en-GB" sz="1200"/>
              <a:t>CHARTS</a:t>
            </a:r>
          </a:p>
          <a:p>
            <a:r>
              <a:rPr lang="en-GB" sz="1200"/>
              <a:t>Please follow these guidelines in order to insert</a:t>
            </a:r>
            <a:r>
              <a:rPr lang="en-GB" sz="1200" baseline="0"/>
              <a:t> and format charts:</a:t>
            </a:r>
            <a:endParaRPr lang="en-GB" sz="1200"/>
          </a:p>
          <a:p>
            <a:endParaRPr lang="en-GB" sz="1200"/>
          </a:p>
          <a:p>
            <a:pPr marL="304792" marR="0" indent="-304792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sz="1200"/>
              <a:t>Insert chart</a:t>
            </a:r>
            <a:r>
              <a:rPr lang="en-GB" sz="1200" baseline="0"/>
              <a:t> - copy/paste from Excel, or create directly in PowerPoint. The chart can be on of the 3 following charts:</a:t>
            </a:r>
            <a:br>
              <a:rPr lang="en-GB" sz="1200" baseline="0"/>
            </a:br>
            <a:r>
              <a:rPr lang="en-GB" sz="1200" baseline="0"/>
              <a:t> 1) Donut</a:t>
            </a:r>
            <a:br>
              <a:rPr lang="en-GB" sz="1200" baseline="0"/>
            </a:br>
            <a:r>
              <a:rPr lang="en-GB" sz="1200" baseline="0"/>
              <a:t> 2) Stacked bar</a:t>
            </a:r>
            <a:br>
              <a:rPr lang="en-GB" sz="1200" baseline="0"/>
            </a:br>
            <a:r>
              <a:rPr lang="en-GB" sz="1200" baseline="0"/>
              <a:t> 3) Line</a:t>
            </a:r>
            <a:endParaRPr lang="en-GB" sz="1200"/>
          </a:p>
          <a:p>
            <a:pPr marL="304792" indent="-304792">
              <a:buFont typeface="+mj-lt"/>
              <a:buAutoNum type="arabicPeriod"/>
            </a:pPr>
            <a:r>
              <a:rPr lang="en-GB" sz="1200"/>
              <a:t>Right click the chart</a:t>
            </a:r>
            <a:r>
              <a:rPr lang="en-GB" sz="1200" baseline="0"/>
              <a:t> and select “Change chart type”</a:t>
            </a:r>
          </a:p>
          <a:p>
            <a:pPr marL="304792" indent="-304792">
              <a:buFont typeface="+mj-lt"/>
              <a:buAutoNum type="arabicPeriod"/>
            </a:pPr>
            <a:r>
              <a:rPr lang="en-GB" sz="1200"/>
              <a:t>In the “Change chart type” dialog,</a:t>
            </a:r>
            <a:r>
              <a:rPr lang="en-GB" sz="1200" baseline="0"/>
              <a:t> select the yellow folder icon “Templates”</a:t>
            </a:r>
          </a:p>
          <a:p>
            <a:pPr marL="304792" indent="-304792">
              <a:buFont typeface="+mj-lt"/>
              <a:buAutoNum type="arabicPeriod"/>
            </a:pPr>
            <a:r>
              <a:rPr lang="en-GB" sz="1200" baseline="0"/>
              <a:t>Click the MIR chart template, which corresponds to the chart, you have inserted.</a:t>
            </a:r>
          </a:p>
          <a:p>
            <a:pPr marL="304792" indent="-304792">
              <a:buFont typeface="+mj-lt"/>
              <a:buAutoNum type="arabicPeriod"/>
            </a:pPr>
            <a:endParaRPr lang="en-GB" sz="1200" baseline="0"/>
          </a:p>
          <a:p>
            <a:pPr marL="304792" indent="-304792">
              <a:buFont typeface="+mj-lt"/>
              <a:buAutoNum type="arabicPeriod"/>
            </a:pPr>
            <a:endParaRPr lang="en-GB" sz="1200" baseline="0"/>
          </a:p>
          <a:p>
            <a:pPr marL="304792" indent="-304792">
              <a:buFont typeface="+mj-lt"/>
              <a:buAutoNum type="arabicPeriod"/>
            </a:pPr>
            <a:endParaRPr lang="en-GB" sz="1200" baseline="0"/>
          </a:p>
          <a:p>
            <a:pPr marL="304792" indent="-304792">
              <a:buFont typeface="+mj-lt"/>
              <a:buAutoNum type="arabicPeriod"/>
            </a:pPr>
            <a:endParaRPr lang="en-GB" sz="1200" baseline="0"/>
          </a:p>
          <a:p>
            <a:pPr marL="304792" indent="-304792">
              <a:buFont typeface="+mj-lt"/>
              <a:buAutoNum type="arabicPeriod"/>
            </a:pPr>
            <a:endParaRPr lang="en-GB" sz="1200" baseline="0"/>
          </a:p>
          <a:p>
            <a:pPr marL="304792" indent="-304792">
              <a:buFont typeface="+mj-lt"/>
              <a:buAutoNum type="arabicPeriod"/>
            </a:pPr>
            <a:endParaRPr lang="en-GB" sz="1200" baseline="0"/>
          </a:p>
          <a:p>
            <a:pPr marL="304792" indent="-304792">
              <a:buFont typeface="+mj-lt"/>
              <a:buAutoNum type="arabicPeriod"/>
            </a:pPr>
            <a:endParaRPr lang="en-GB" sz="1200" baseline="0"/>
          </a:p>
          <a:p>
            <a:pPr marL="304792" indent="-304792">
              <a:buFont typeface="+mj-lt"/>
              <a:buAutoNum type="arabicPeriod"/>
            </a:pPr>
            <a:endParaRPr lang="en-GB" sz="1200" baseline="0"/>
          </a:p>
          <a:p>
            <a:pPr marL="304792" indent="-304792">
              <a:buFont typeface="+mj-lt"/>
              <a:buAutoNum type="arabicPeriod"/>
            </a:pPr>
            <a:endParaRPr lang="en-GB" sz="1200" baseline="0"/>
          </a:p>
          <a:p>
            <a:pPr marL="304792" indent="-304792">
              <a:buFont typeface="+mj-lt"/>
              <a:buAutoNum type="arabicPeriod"/>
            </a:pPr>
            <a:endParaRPr lang="en-GB" sz="1200" baseline="0"/>
          </a:p>
          <a:p>
            <a:pPr marL="304792" indent="-304792">
              <a:buFont typeface="+mj-lt"/>
              <a:buAutoNum type="arabicPeriod"/>
            </a:pPr>
            <a:endParaRPr lang="en-GB" sz="1200" baseline="0"/>
          </a:p>
          <a:p>
            <a:pPr marL="304792" indent="-304792">
              <a:buFont typeface="+mj-lt"/>
              <a:buAutoNum type="arabicPeriod"/>
            </a:pPr>
            <a:endParaRPr lang="en-GB" sz="1200" baseline="0"/>
          </a:p>
          <a:p>
            <a:pPr marL="304792" indent="-304792">
              <a:buFont typeface="+mj-lt"/>
              <a:buAutoNum type="arabicPeriod"/>
            </a:pPr>
            <a:endParaRPr lang="en-GB" sz="1200" baseline="0"/>
          </a:p>
          <a:p>
            <a:pPr marL="304792" indent="-304792">
              <a:buFont typeface="+mj-lt"/>
              <a:buAutoNum type="arabicPeriod"/>
            </a:pPr>
            <a:r>
              <a:rPr lang="en-GB" sz="1200" baseline="0"/>
              <a:t>Your chart will now change to match the selected chart template, and you can do the final modifications (chart title, axe titles etc.), if necessary.</a:t>
            </a:r>
          </a:p>
          <a:p>
            <a:endParaRPr lang="en-GB" sz="1200"/>
          </a:p>
        </p:txBody>
      </p:sp>
      <p:pic>
        <p:nvPicPr>
          <p:cNvPr id="2" name="Billede 1"/>
          <p:cNvPicPr>
            <a:picLocks noChangeAspect="1"/>
          </p:cNvPicPr>
          <p:nvPr userDrawn="1"/>
        </p:nvPicPr>
        <p:blipFill rotWithShape="1">
          <a:blip r:embed="rId2"/>
          <a:srcRect l="30550" t="14753" r="5182" b="19615"/>
          <a:stretch/>
        </p:blipFill>
        <p:spPr>
          <a:xfrm>
            <a:off x="-3346013" y="3068960"/>
            <a:ext cx="3138953" cy="2230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948068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A1156D65-1EB3-4499-8C4F-39E795637A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841" t="23750" r="104" b="61125"/>
          <a:stretch/>
        </p:blipFill>
        <p:spPr>
          <a:xfrm>
            <a:off x="4511824" y="0"/>
            <a:ext cx="7680177" cy="980728"/>
          </a:xfrm>
          <a:custGeom>
            <a:avLst/>
            <a:gdLst>
              <a:gd name="connsiteX0" fmla="*/ 0 w 10128449"/>
              <a:gd name="connsiteY0" fmla="*/ 0 h 980728"/>
              <a:gd name="connsiteX1" fmla="*/ 1 w 10128449"/>
              <a:gd name="connsiteY1" fmla="*/ 0 h 980728"/>
              <a:gd name="connsiteX2" fmla="*/ 1993378 w 10128449"/>
              <a:gd name="connsiteY2" fmla="*/ 0 h 980728"/>
              <a:gd name="connsiteX3" fmla="*/ 1993381 w 10128449"/>
              <a:gd name="connsiteY3" fmla="*/ 0 h 980728"/>
              <a:gd name="connsiteX4" fmla="*/ 5976663 w 10128449"/>
              <a:gd name="connsiteY4" fmla="*/ 0 h 980728"/>
              <a:gd name="connsiteX5" fmla="*/ 10128449 w 10128449"/>
              <a:gd name="connsiteY5" fmla="*/ 0 h 980728"/>
              <a:gd name="connsiteX6" fmla="*/ 10128449 w 10128449"/>
              <a:gd name="connsiteY6" fmla="*/ 980728 h 980728"/>
              <a:gd name="connsiteX7" fmla="*/ 5976663 w 10128449"/>
              <a:gd name="connsiteY7" fmla="*/ 980728 h 980728"/>
              <a:gd name="connsiteX8" fmla="*/ 1993381 w 10128449"/>
              <a:gd name="connsiteY8" fmla="*/ 980728 h 980728"/>
              <a:gd name="connsiteX9" fmla="*/ 1993378 w 10128449"/>
              <a:gd name="connsiteY9" fmla="*/ 980728 h 980728"/>
              <a:gd name="connsiteX10" fmla="*/ 0 w 10128449"/>
              <a:gd name="connsiteY10" fmla="*/ 980728 h 980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0128449" h="980728">
                <a:moveTo>
                  <a:pt x="0" y="0"/>
                </a:moveTo>
                <a:lnTo>
                  <a:pt x="1" y="0"/>
                </a:lnTo>
                <a:lnTo>
                  <a:pt x="1993378" y="0"/>
                </a:lnTo>
                <a:lnTo>
                  <a:pt x="1993381" y="0"/>
                </a:lnTo>
                <a:lnTo>
                  <a:pt x="5976663" y="0"/>
                </a:lnTo>
                <a:lnTo>
                  <a:pt x="10128449" y="0"/>
                </a:lnTo>
                <a:lnTo>
                  <a:pt x="10128449" y="980728"/>
                </a:lnTo>
                <a:lnTo>
                  <a:pt x="5976663" y="980728"/>
                </a:lnTo>
                <a:lnTo>
                  <a:pt x="1993381" y="980728"/>
                </a:lnTo>
                <a:lnTo>
                  <a:pt x="1993378" y="980728"/>
                </a:lnTo>
                <a:lnTo>
                  <a:pt x="0" y="980728"/>
                </a:lnTo>
                <a:close/>
              </a:path>
            </a:pathLst>
          </a:custGeom>
        </p:spPr>
      </p:pic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ABEAF055-5B4F-42E8-BD93-8BC86407BFDD}"/>
              </a:ext>
            </a:extLst>
          </p:cNvPr>
          <p:cNvSpPr/>
          <p:nvPr userDrawn="1"/>
        </p:nvSpPr>
        <p:spPr>
          <a:xfrm rot="10800000" flipH="1" flipV="1">
            <a:off x="6807702" y="543638"/>
            <a:ext cx="1512168" cy="896542"/>
          </a:xfrm>
          <a:custGeom>
            <a:avLst/>
            <a:gdLst>
              <a:gd name="connsiteX0" fmla="*/ 0 w 6404967"/>
              <a:gd name="connsiteY0" fmla="*/ 3797412 h 3797412"/>
              <a:gd name="connsiteX1" fmla="*/ 6404967 w 6404967"/>
              <a:gd name="connsiteY1" fmla="*/ 3797412 h 3797412"/>
              <a:gd name="connsiteX2" fmla="*/ 6404967 w 6404967"/>
              <a:gd name="connsiteY2" fmla="*/ 3596770 h 3797412"/>
              <a:gd name="connsiteX3" fmla="*/ 0 w 6404967"/>
              <a:gd name="connsiteY3" fmla="*/ 0 h 3797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04967" h="3797412">
                <a:moveTo>
                  <a:pt x="0" y="3797412"/>
                </a:moveTo>
                <a:lnTo>
                  <a:pt x="6404967" y="3797412"/>
                </a:lnTo>
                <a:lnTo>
                  <a:pt x="6404967" y="359677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F44DCFE-E9D8-4068-A796-11EAC0730CA0}"/>
              </a:ext>
            </a:extLst>
          </p:cNvPr>
          <p:cNvSpPr/>
          <p:nvPr userDrawn="1"/>
        </p:nvSpPr>
        <p:spPr>
          <a:xfrm rot="10800000" flipH="1" flipV="1">
            <a:off x="4511824" y="543638"/>
            <a:ext cx="2295878" cy="8965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720000" y="828000"/>
            <a:ext cx="3791824" cy="5760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Heading</a:t>
            </a:r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8471EAA7-3162-4B69-9563-88D5A3B75B98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7" name="Billede 4">
            <a:extLst>
              <a:ext uri="{FF2B5EF4-FFF2-40B4-BE49-F238E27FC236}">
                <a16:creationId xmlns:a16="http://schemas.microsoft.com/office/drawing/2014/main" id="{265EC6E2-D237-4D97-BD01-5B2D156128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610" t="88638" b="4023"/>
          <a:stretch/>
        </p:blipFill>
        <p:spPr>
          <a:xfrm flipH="1">
            <a:off x="0" y="6339840"/>
            <a:ext cx="4070111" cy="524906"/>
          </a:xfrm>
          <a:prstGeom prst="rect">
            <a:avLst/>
          </a:prstGeom>
        </p:spPr>
      </p:pic>
      <p:sp>
        <p:nvSpPr>
          <p:cNvPr id="15" name="Pladsholder til tekst 6">
            <a:extLst>
              <a:ext uri="{FF2B5EF4-FFF2-40B4-BE49-F238E27FC236}">
                <a16:creationId xmlns:a16="http://schemas.microsoft.com/office/drawing/2014/main" id="{921D5791-B07A-4541-8CA1-CE304B9F540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0725" y="2145323"/>
            <a:ext cx="3791099" cy="3470677"/>
          </a:xfrm>
        </p:spPr>
        <p:txBody>
          <a:bodyPr/>
          <a:lstStyle>
            <a:lvl1pPr marL="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None/>
              <a:defRPr lang="en-GB" sz="1800" kern="1200" baseline="0" noProof="0" dirty="0">
                <a:solidFill>
                  <a:schemeClr val="accent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None/>
              <a:defRPr lang="en-GB" sz="1600" kern="1200" baseline="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Calibri Light" panose="020F0302020204030204" pitchFamily="34" charset="0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None/>
              <a:defRPr lang="en-GB" sz="1600" kern="1200" baseline="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None/>
              <a:defRPr lang="en-GB" sz="1600" kern="1200" baseline="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>
              <a:defRPr sz="2000"/>
            </a:lvl5pPr>
          </a:lstStyle>
          <a:p>
            <a:pPr marL="0" lvl="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None/>
            </a:pPr>
            <a:r>
              <a:rPr lang="en-GB" noProof="0"/>
              <a:t>Text (remove bullet for plain text – and mark a line with Bold and “Blue, </a:t>
            </a:r>
            <a:r>
              <a:rPr lang="en-GB" noProof="0" err="1"/>
              <a:t>color</a:t>
            </a:r>
            <a:r>
              <a:rPr lang="en-GB" noProof="0"/>
              <a:t> 1” from Theme colours, if you need a sub heading)</a:t>
            </a:r>
          </a:p>
        </p:txBody>
      </p:sp>
      <p:sp>
        <p:nvSpPr>
          <p:cNvPr id="16" name="Content Placeholder 11">
            <a:extLst>
              <a:ext uri="{FF2B5EF4-FFF2-40B4-BE49-F238E27FC236}">
                <a16:creationId xmlns:a16="http://schemas.microsoft.com/office/drawing/2014/main" id="{FC202050-EFB6-47FB-9D69-49A2F0D5359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046784" y="2145323"/>
            <a:ext cx="6305799" cy="3470677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2802251-E3D5-4F3D-9E60-6EC5E80C12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044" b="92082"/>
          <a:stretch/>
        </p:blipFill>
        <p:spPr>
          <a:xfrm>
            <a:off x="0" y="6322088"/>
            <a:ext cx="8720735" cy="542658"/>
          </a:xfrm>
          <a:prstGeom prst="rect">
            <a:avLst/>
          </a:prstGeom>
        </p:spPr>
      </p:pic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E82CBB0E-2A09-4046-943C-5340315452EB}"/>
              </a:ext>
            </a:extLst>
          </p:cNvPr>
          <p:cNvSpPr/>
          <p:nvPr userDrawn="1"/>
        </p:nvSpPr>
        <p:spPr>
          <a:xfrm rot="10800000" flipH="1" flipV="1">
            <a:off x="4511824" y="0"/>
            <a:ext cx="1512168" cy="896542"/>
          </a:xfrm>
          <a:custGeom>
            <a:avLst/>
            <a:gdLst>
              <a:gd name="connsiteX0" fmla="*/ 0 w 6404967"/>
              <a:gd name="connsiteY0" fmla="*/ 3797412 h 3797412"/>
              <a:gd name="connsiteX1" fmla="*/ 6404967 w 6404967"/>
              <a:gd name="connsiteY1" fmla="*/ 3797412 h 3797412"/>
              <a:gd name="connsiteX2" fmla="*/ 6404967 w 6404967"/>
              <a:gd name="connsiteY2" fmla="*/ 3596770 h 3797412"/>
              <a:gd name="connsiteX3" fmla="*/ 0 w 6404967"/>
              <a:gd name="connsiteY3" fmla="*/ 0 h 37974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04967" h="3797412">
                <a:moveTo>
                  <a:pt x="0" y="3797412"/>
                </a:moveTo>
                <a:lnTo>
                  <a:pt x="6404967" y="3797412"/>
                </a:lnTo>
                <a:lnTo>
                  <a:pt x="6404967" y="359677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24698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3"/>
          <a:stretch/>
        </p:blipFill>
        <p:spPr>
          <a:xfrm>
            <a:off x="0" y="0"/>
            <a:ext cx="12197142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0000" y="1700808"/>
            <a:ext cx="6552000" cy="1440160"/>
          </a:xfrm>
        </p:spPr>
        <p:txBody>
          <a:bodyPr anchor="b" anchorCtr="0">
            <a:noAutofit/>
          </a:bodyPr>
          <a:lstStyle>
            <a:lvl1pPr algn="l">
              <a:lnSpc>
                <a:spcPts val="6000"/>
              </a:lnSpc>
              <a:defRPr sz="5000" cap="none" spc="0" baseline="0">
                <a:solidFill>
                  <a:schemeClr val="accent2"/>
                </a:solidFill>
                <a:latin typeface="+mj-lt"/>
                <a:ea typeface="Adobe Heiti Std R" panose="020B0400000000000000" pitchFamily="34" charset="-128"/>
              </a:defRPr>
            </a:lvl1pPr>
          </a:lstStyle>
          <a:p>
            <a:r>
              <a:rPr lang="en-GB" noProof="0" dirty="0"/>
              <a:t>Breaker title</a:t>
            </a:r>
          </a:p>
        </p:txBody>
      </p:sp>
      <p:pic>
        <p:nvPicPr>
          <p:cNvPr id="7" name="Billede 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748" b="89426"/>
          <a:stretch/>
        </p:blipFill>
        <p:spPr>
          <a:xfrm>
            <a:off x="10703670" y="0"/>
            <a:ext cx="1493472" cy="756319"/>
          </a:xfrm>
          <a:prstGeom prst="rect">
            <a:avLst/>
          </a:prstGeom>
        </p:spPr>
      </p:pic>
      <p:sp>
        <p:nvSpPr>
          <p:cNvPr id="8" name="Pladsholder til tekst 7"/>
          <p:cNvSpPr>
            <a:spLocks noGrp="1"/>
          </p:cNvSpPr>
          <p:nvPr>
            <p:ph type="body" sz="quarter" idx="10" hasCustomPrompt="1"/>
          </p:nvPr>
        </p:nvSpPr>
        <p:spPr>
          <a:xfrm>
            <a:off x="720000" y="3600276"/>
            <a:ext cx="6553200" cy="1196876"/>
          </a:xfrm>
        </p:spPr>
        <p:txBody>
          <a:bodyPr/>
          <a:lstStyle>
            <a:lvl1pPr marL="0" indent="0">
              <a:lnSpc>
                <a:spcPts val="2200"/>
              </a:lnSpc>
              <a:spcBef>
                <a:spcPts val="0"/>
              </a:spcBef>
              <a:buFontTx/>
              <a:buNone/>
              <a:defRPr sz="20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/>
              <a:t>Additional breaker text</a:t>
            </a:r>
          </a:p>
        </p:txBody>
      </p:sp>
    </p:spTree>
    <p:extLst>
      <p:ext uri="{BB962C8B-B14F-4D97-AF65-F5344CB8AC3E}">
        <p14:creationId xmlns:p14="http://schemas.microsoft.com/office/powerpoint/2010/main" val="2141353981"/>
      </p:ext>
    </p:extLst>
  </p:cSld>
  <p:clrMapOvr>
    <a:masterClrMapping/>
  </p:clrMapOvr>
  <p:transition>
    <p:fade/>
  </p:transition>
  <p:hf hd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ing</a:t>
            </a:r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71EAA7-3162-4B69-9563-88D5A3B75B98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5A2FC63-A12B-4A84-A629-7C2A444AC00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10" t="31692" r="17455" b="46202"/>
          <a:stretch/>
        </p:blipFill>
        <p:spPr>
          <a:xfrm>
            <a:off x="719999" y="1628801"/>
            <a:ext cx="5111840" cy="981079"/>
          </a:xfrm>
          <a:custGeom>
            <a:avLst/>
            <a:gdLst>
              <a:gd name="connsiteX0" fmla="*/ 0 w 6120680"/>
              <a:gd name="connsiteY0" fmla="*/ 0 h 2304256"/>
              <a:gd name="connsiteX1" fmla="*/ 6120680 w 6120680"/>
              <a:gd name="connsiteY1" fmla="*/ 0 h 2304256"/>
              <a:gd name="connsiteX2" fmla="*/ 6120680 w 6120680"/>
              <a:gd name="connsiteY2" fmla="*/ 2304256 h 2304256"/>
              <a:gd name="connsiteX3" fmla="*/ 0 w 6120680"/>
              <a:gd name="connsiteY3" fmla="*/ 2304256 h 23042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20680" h="2304256">
                <a:moveTo>
                  <a:pt x="0" y="0"/>
                </a:moveTo>
                <a:lnTo>
                  <a:pt x="6120680" y="0"/>
                </a:lnTo>
                <a:lnTo>
                  <a:pt x="6120680" y="2304256"/>
                </a:lnTo>
                <a:lnTo>
                  <a:pt x="0" y="2304256"/>
                </a:lnTo>
                <a:close/>
              </a:path>
            </a:pathLst>
          </a:custGeom>
        </p:spPr>
      </p:pic>
      <p:sp>
        <p:nvSpPr>
          <p:cNvPr id="12" name="Right Triangle 11">
            <a:extLst>
              <a:ext uri="{FF2B5EF4-FFF2-40B4-BE49-F238E27FC236}">
                <a16:creationId xmlns:a16="http://schemas.microsoft.com/office/drawing/2014/main" id="{6BA064AD-AB91-4B60-AD14-DA944E701C35}"/>
              </a:ext>
            </a:extLst>
          </p:cNvPr>
          <p:cNvSpPr/>
          <p:nvPr/>
        </p:nvSpPr>
        <p:spPr>
          <a:xfrm rot="10800000">
            <a:off x="5449109" y="1628800"/>
            <a:ext cx="382730" cy="221612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13" name="Right Triangle 12">
            <a:extLst>
              <a:ext uri="{FF2B5EF4-FFF2-40B4-BE49-F238E27FC236}">
                <a16:creationId xmlns:a16="http://schemas.microsoft.com/office/drawing/2014/main" id="{D69F4BD3-B90D-440A-96B6-7225657D3A36}"/>
              </a:ext>
            </a:extLst>
          </p:cNvPr>
          <p:cNvSpPr/>
          <p:nvPr/>
        </p:nvSpPr>
        <p:spPr>
          <a:xfrm>
            <a:off x="720000" y="2388268"/>
            <a:ext cx="382730" cy="221612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F5E0BB8-4D4F-4E22-B245-247659E538E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10" t="31692" r="17455" b="46202"/>
          <a:stretch/>
        </p:blipFill>
        <p:spPr>
          <a:xfrm>
            <a:off x="6360160" y="1656522"/>
            <a:ext cx="5111840" cy="981079"/>
          </a:xfrm>
          <a:custGeom>
            <a:avLst/>
            <a:gdLst>
              <a:gd name="connsiteX0" fmla="*/ 0 w 6120680"/>
              <a:gd name="connsiteY0" fmla="*/ 0 h 2304256"/>
              <a:gd name="connsiteX1" fmla="*/ 6120680 w 6120680"/>
              <a:gd name="connsiteY1" fmla="*/ 0 h 2304256"/>
              <a:gd name="connsiteX2" fmla="*/ 6120680 w 6120680"/>
              <a:gd name="connsiteY2" fmla="*/ 2304256 h 2304256"/>
              <a:gd name="connsiteX3" fmla="*/ 0 w 6120680"/>
              <a:gd name="connsiteY3" fmla="*/ 2304256 h 23042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20680" h="2304256">
                <a:moveTo>
                  <a:pt x="0" y="0"/>
                </a:moveTo>
                <a:lnTo>
                  <a:pt x="6120680" y="0"/>
                </a:lnTo>
                <a:lnTo>
                  <a:pt x="6120680" y="2304256"/>
                </a:lnTo>
                <a:lnTo>
                  <a:pt x="0" y="2304256"/>
                </a:lnTo>
                <a:close/>
              </a:path>
            </a:pathLst>
          </a:custGeom>
        </p:spPr>
      </p:pic>
      <p:sp>
        <p:nvSpPr>
          <p:cNvPr id="17" name="Right Triangle 16">
            <a:extLst>
              <a:ext uri="{FF2B5EF4-FFF2-40B4-BE49-F238E27FC236}">
                <a16:creationId xmlns:a16="http://schemas.microsoft.com/office/drawing/2014/main" id="{795E1EDC-1C03-49BE-A37A-28AD1966500B}"/>
              </a:ext>
            </a:extLst>
          </p:cNvPr>
          <p:cNvSpPr/>
          <p:nvPr/>
        </p:nvSpPr>
        <p:spPr>
          <a:xfrm rot="10800000">
            <a:off x="11089269" y="1656521"/>
            <a:ext cx="382730" cy="221612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18" name="Right Triangle 17">
            <a:extLst>
              <a:ext uri="{FF2B5EF4-FFF2-40B4-BE49-F238E27FC236}">
                <a16:creationId xmlns:a16="http://schemas.microsoft.com/office/drawing/2014/main" id="{443E16BD-2ADE-4BF6-8A9B-AA0DE60AE6EF}"/>
              </a:ext>
            </a:extLst>
          </p:cNvPr>
          <p:cNvSpPr/>
          <p:nvPr/>
        </p:nvSpPr>
        <p:spPr>
          <a:xfrm>
            <a:off x="6360160" y="2415989"/>
            <a:ext cx="382730" cy="221612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19F1546-8994-4360-BAF8-464BCBCFBD5B}"/>
              </a:ext>
            </a:extLst>
          </p:cNvPr>
          <p:cNvSpPr/>
          <p:nvPr userDrawn="1"/>
        </p:nvSpPr>
        <p:spPr>
          <a:xfrm>
            <a:off x="0" y="0"/>
            <a:ext cx="10344472" cy="5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FBC89C42-7965-4B5D-9C1C-1BE141CF60A1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720000" y="2802673"/>
            <a:ext cx="5111840" cy="2916439"/>
          </a:xfrm>
          <a:custGeom>
            <a:avLst/>
            <a:gdLst>
              <a:gd name="connsiteX0" fmla="*/ 0 w 5111840"/>
              <a:gd name="connsiteY0" fmla="*/ 0 h 2916439"/>
              <a:gd name="connsiteX1" fmla="*/ 5111840 w 5111840"/>
              <a:gd name="connsiteY1" fmla="*/ 0 h 2916439"/>
              <a:gd name="connsiteX2" fmla="*/ 5111840 w 5111840"/>
              <a:gd name="connsiteY2" fmla="*/ 2916439 h 2916439"/>
              <a:gd name="connsiteX3" fmla="*/ 0 w 5111840"/>
              <a:gd name="connsiteY3" fmla="*/ 2916439 h 2916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1840" h="2916439">
                <a:moveTo>
                  <a:pt x="0" y="0"/>
                </a:moveTo>
                <a:lnTo>
                  <a:pt x="5111840" y="0"/>
                </a:lnTo>
                <a:lnTo>
                  <a:pt x="5111840" y="2916439"/>
                </a:lnTo>
                <a:lnTo>
                  <a:pt x="0" y="2916439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None/>
              <a:defRPr lang="en-GB" sz="1600" kern="1200" baseline="0" noProof="0" dirty="0">
                <a:solidFill>
                  <a:schemeClr val="accent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None/>
              <a:defRPr lang="en-GB" sz="1600" kern="1200" baseline="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Calibri Light" panose="020F0302020204030204" pitchFamily="34" charset="0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None/>
              <a:defRPr lang="en-GB" sz="1600" kern="1200" baseline="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None/>
              <a:defRPr lang="en-GB" sz="1600" kern="1200" baseline="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>
              <a:defRPr sz="2000"/>
            </a:lvl5pPr>
          </a:lstStyle>
          <a:p>
            <a:pPr lvl="0"/>
            <a:r>
              <a:rPr lang="en-GB" noProof="0"/>
              <a:t>Text (remove bullet for plain text – and mark a line with Bold and “Blue, </a:t>
            </a:r>
            <a:r>
              <a:rPr lang="en-GB" noProof="0" err="1"/>
              <a:t>color</a:t>
            </a:r>
            <a:r>
              <a:rPr lang="en-GB" noProof="0"/>
              <a:t> 1” from Theme colours, if you need a sub heading)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ABA629B1-5B4C-482D-A538-FA88A2D5E1BD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6360160" y="2802673"/>
            <a:ext cx="5111840" cy="2916439"/>
          </a:xfrm>
          <a:custGeom>
            <a:avLst/>
            <a:gdLst>
              <a:gd name="connsiteX0" fmla="*/ 0 w 5111840"/>
              <a:gd name="connsiteY0" fmla="*/ 0 h 2916439"/>
              <a:gd name="connsiteX1" fmla="*/ 5111840 w 5111840"/>
              <a:gd name="connsiteY1" fmla="*/ 0 h 2916439"/>
              <a:gd name="connsiteX2" fmla="*/ 5111840 w 5111840"/>
              <a:gd name="connsiteY2" fmla="*/ 2916439 h 2916439"/>
              <a:gd name="connsiteX3" fmla="*/ 0 w 5111840"/>
              <a:gd name="connsiteY3" fmla="*/ 2916439 h 2916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11840" h="2916439">
                <a:moveTo>
                  <a:pt x="0" y="0"/>
                </a:moveTo>
                <a:lnTo>
                  <a:pt x="5111840" y="0"/>
                </a:lnTo>
                <a:lnTo>
                  <a:pt x="5111840" y="2916439"/>
                </a:lnTo>
                <a:lnTo>
                  <a:pt x="0" y="2916439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None/>
              <a:defRPr lang="en-GB" sz="1600" kern="1200" baseline="0" noProof="0" dirty="0">
                <a:solidFill>
                  <a:schemeClr val="accent2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None/>
              <a:defRPr lang="en-GB" sz="1600" kern="1200" baseline="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Calibri Light" panose="020F0302020204030204" pitchFamily="34" charset="0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None/>
              <a:defRPr lang="en-GB" sz="1600" kern="1200" baseline="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None/>
              <a:defRPr lang="en-GB" sz="1600" kern="1200" baseline="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>
              <a:defRPr sz="2000"/>
            </a:lvl5pPr>
          </a:lstStyle>
          <a:p>
            <a:pPr lvl="0"/>
            <a:r>
              <a:rPr lang="en-GB" noProof="0"/>
              <a:t>Text (remove bullet for plain text – and mark a line with Bold and “Blue, </a:t>
            </a:r>
            <a:r>
              <a:rPr lang="en-GB" noProof="0" err="1"/>
              <a:t>color</a:t>
            </a:r>
            <a:r>
              <a:rPr lang="en-GB" noProof="0"/>
              <a:t> 1” from Theme colours, if you need a sub heading)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D5BE5CC1-EA62-46C9-B390-0AB2049A9F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742893" y="1921636"/>
            <a:ext cx="4346376" cy="450850"/>
          </a:xfrm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4686723D-BDC9-42A1-838F-26D098DC586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02731" y="1921636"/>
            <a:ext cx="4346376" cy="450850"/>
          </a:xfrm>
        </p:spPr>
        <p:txBody>
          <a:bodyPr anchor="ctr"/>
          <a:lstStyle>
            <a:lvl1pPr marL="0" indent="0" algn="ctr"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312851630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7E8182B9-8135-4B35-8E8B-B874D3D7FC8F}"/>
              </a:ext>
            </a:extLst>
          </p:cNvPr>
          <p:cNvGrpSpPr/>
          <p:nvPr userDrawn="1"/>
        </p:nvGrpSpPr>
        <p:grpSpPr>
          <a:xfrm>
            <a:off x="-4" y="0"/>
            <a:ext cx="12192004" cy="5801209"/>
            <a:chOff x="-4" y="0"/>
            <a:chExt cx="12192004" cy="5801209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A65053C-9DF6-4039-BA27-A9BDC10157A2}"/>
                </a:ext>
              </a:extLst>
            </p:cNvPr>
            <p:cNvSpPr/>
            <p:nvPr/>
          </p:nvSpPr>
          <p:spPr>
            <a:xfrm rot="10800000" flipH="1">
              <a:off x="8550763" y="0"/>
              <a:ext cx="3641237" cy="3797412"/>
            </a:xfrm>
            <a:custGeom>
              <a:avLst/>
              <a:gdLst>
                <a:gd name="connsiteX0" fmla="*/ 0 w 3641237"/>
                <a:gd name="connsiteY0" fmla="*/ 3797412 h 3797412"/>
                <a:gd name="connsiteX1" fmla="*/ 3641237 w 3641237"/>
                <a:gd name="connsiteY1" fmla="*/ 3797412 h 3797412"/>
                <a:gd name="connsiteX2" fmla="*/ 3641237 w 3641237"/>
                <a:gd name="connsiteY2" fmla="*/ 2044771 h 3797412"/>
                <a:gd name="connsiteX3" fmla="*/ 0 w 3641237"/>
                <a:gd name="connsiteY3" fmla="*/ 0 h 3797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41237" h="3797412">
                  <a:moveTo>
                    <a:pt x="0" y="3797412"/>
                  </a:moveTo>
                  <a:lnTo>
                    <a:pt x="3641237" y="3797412"/>
                  </a:lnTo>
                  <a:lnTo>
                    <a:pt x="3641237" y="204477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F090229-69AF-42A7-9FBB-42F32379CE21}"/>
                </a:ext>
              </a:extLst>
            </p:cNvPr>
            <p:cNvSpPr/>
            <p:nvPr/>
          </p:nvSpPr>
          <p:spPr>
            <a:xfrm rot="10800000" flipH="1">
              <a:off x="-4" y="0"/>
              <a:ext cx="8550751" cy="379741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74AB460-45D4-446F-810E-8CBABF3AC1A7}"/>
                </a:ext>
              </a:extLst>
            </p:cNvPr>
            <p:cNvSpPr/>
            <p:nvPr/>
          </p:nvSpPr>
          <p:spPr>
            <a:xfrm rot="10800000" flipH="1">
              <a:off x="5787033" y="1154147"/>
              <a:ext cx="6404967" cy="3797412"/>
            </a:xfrm>
            <a:custGeom>
              <a:avLst/>
              <a:gdLst>
                <a:gd name="connsiteX0" fmla="*/ 0 w 6404967"/>
                <a:gd name="connsiteY0" fmla="*/ 3797412 h 3797412"/>
                <a:gd name="connsiteX1" fmla="*/ 6404967 w 6404967"/>
                <a:gd name="connsiteY1" fmla="*/ 3797412 h 3797412"/>
                <a:gd name="connsiteX2" fmla="*/ 6404967 w 6404967"/>
                <a:gd name="connsiteY2" fmla="*/ 3596770 h 3797412"/>
                <a:gd name="connsiteX3" fmla="*/ 0 w 6404967"/>
                <a:gd name="connsiteY3" fmla="*/ 0 h 3797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04967" h="3797412">
                  <a:moveTo>
                    <a:pt x="0" y="3797412"/>
                  </a:moveTo>
                  <a:lnTo>
                    <a:pt x="6404967" y="3797412"/>
                  </a:lnTo>
                  <a:lnTo>
                    <a:pt x="6404967" y="35967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C282A3EE-F29D-4EFD-BFB8-3B69030F1E8B}"/>
                </a:ext>
              </a:extLst>
            </p:cNvPr>
            <p:cNvSpPr/>
            <p:nvPr/>
          </p:nvSpPr>
          <p:spPr>
            <a:xfrm rot="10800000" flipH="1">
              <a:off x="235920" y="1154147"/>
              <a:ext cx="5551105" cy="379741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B9C34794-CA9D-481E-AFBB-F26F6C316CFA}"/>
                </a:ext>
              </a:extLst>
            </p:cNvPr>
            <p:cNvSpPr/>
            <p:nvPr/>
          </p:nvSpPr>
          <p:spPr>
            <a:xfrm rot="10800000" flipH="1">
              <a:off x="0" y="2333515"/>
              <a:ext cx="6175115" cy="3467694"/>
            </a:xfrm>
            <a:custGeom>
              <a:avLst/>
              <a:gdLst>
                <a:gd name="connsiteX0" fmla="*/ 0 w 6175115"/>
                <a:gd name="connsiteY0" fmla="*/ 3467694 h 3467694"/>
                <a:gd name="connsiteX1" fmla="*/ 6175115 w 6175115"/>
                <a:gd name="connsiteY1" fmla="*/ 3467694 h 3467694"/>
                <a:gd name="connsiteX2" fmla="*/ 0 w 6175115"/>
                <a:gd name="connsiteY2" fmla="*/ 0 h 3467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175115" h="3467694">
                  <a:moveTo>
                    <a:pt x="0" y="3467694"/>
                  </a:moveTo>
                  <a:lnTo>
                    <a:pt x="6175115" y="346769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20" name="Title 1">
            <a:extLst>
              <a:ext uri="{FF2B5EF4-FFF2-40B4-BE49-F238E27FC236}">
                <a16:creationId xmlns:a16="http://schemas.microsoft.com/office/drawing/2014/main" id="{EDA4292A-B70A-4032-9185-1AABD9935C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22945" y="2672932"/>
            <a:ext cx="5743882" cy="1512137"/>
          </a:xfrm>
        </p:spPr>
        <p:txBody>
          <a:bodyPr anchor="ctr"/>
          <a:lstStyle>
            <a:lvl1pPr marL="0" algn="l" defTabSz="914378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600" b="1" i="0" kern="1200" cap="none" spc="0" baseline="0" noProof="0" dirty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EDIT MASTER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F2720725-9890-4463-9ACD-09EC148556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589" b="89309"/>
          <a:stretch/>
        </p:blipFill>
        <p:spPr>
          <a:xfrm>
            <a:off x="10920538" y="1"/>
            <a:ext cx="1269063" cy="764703"/>
          </a:xfrm>
          <a:custGeom>
            <a:avLst/>
            <a:gdLst>
              <a:gd name="connsiteX0" fmla="*/ 0 w 1269063"/>
              <a:gd name="connsiteY0" fmla="*/ 0 h 764703"/>
              <a:gd name="connsiteX1" fmla="*/ 1269063 w 1269063"/>
              <a:gd name="connsiteY1" fmla="*/ 0 h 764703"/>
              <a:gd name="connsiteX2" fmla="*/ 1269063 w 1269063"/>
              <a:gd name="connsiteY2" fmla="*/ 764703 h 764703"/>
              <a:gd name="connsiteX3" fmla="*/ 0 w 1269063"/>
              <a:gd name="connsiteY3" fmla="*/ 764703 h 7647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69063" h="764703">
                <a:moveTo>
                  <a:pt x="0" y="0"/>
                </a:moveTo>
                <a:lnTo>
                  <a:pt x="1269063" y="0"/>
                </a:lnTo>
                <a:lnTo>
                  <a:pt x="1269063" y="764703"/>
                </a:lnTo>
                <a:lnTo>
                  <a:pt x="0" y="764703"/>
                </a:lnTo>
                <a:close/>
              </a:path>
            </a:pathLst>
          </a:custGeom>
        </p:spPr>
      </p:pic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880DE82C-771B-4BC7-B4AE-C93384B7C594}"/>
              </a:ext>
            </a:extLst>
          </p:cNvPr>
          <p:cNvSpPr txBox="1">
            <a:spLocks/>
          </p:cNvSpPr>
          <p:nvPr userDrawn="1"/>
        </p:nvSpPr>
        <p:spPr>
          <a:xfrm>
            <a:off x="11700129" y="6534000"/>
            <a:ext cx="252000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a-DK"/>
            </a:defPPr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pPr lvl="0"/>
            <a:fld id="{8471EAA7-3162-4B69-9563-88D5A3B75B98}" type="slidenum">
              <a:rPr lang="en-GB" smtClean="0"/>
              <a:pPr lvl="0"/>
              <a:t>‹#›</a:t>
            </a:fld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8C0AFBC-2082-4DF5-823F-5F32DB0B1EB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 vert="horz" lIns="0" tIns="0" rIns="0" bIns="0" rtlCol="0" anchor="t" anchorCtr="0"/>
          <a:lstStyle>
            <a:lvl1pPr>
              <a:defRPr lang="en-GB" smtClean="0">
                <a:solidFill>
                  <a:schemeClr val="accent2"/>
                </a:solidFill>
              </a:defRPr>
            </a:lvl1pPr>
          </a:lstStyle>
          <a:p>
            <a:fld id="{8471EAA7-3162-4B69-9563-88D5A3B75B98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F5E0815-AC7B-4AE3-969F-DEA6FD643F27}"/>
              </a:ext>
            </a:extLst>
          </p:cNvPr>
          <p:cNvCxnSpPr>
            <a:cxnSpLocks/>
          </p:cNvCxnSpPr>
          <p:nvPr userDrawn="1"/>
        </p:nvCxnSpPr>
        <p:spPr>
          <a:xfrm>
            <a:off x="6022945" y="4521201"/>
            <a:ext cx="103825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Picture Placeholder 43">
            <a:extLst>
              <a:ext uri="{FF2B5EF4-FFF2-40B4-BE49-F238E27FC236}">
                <a16:creationId xmlns:a16="http://schemas.microsoft.com/office/drawing/2014/main" id="{87382241-0C55-4EF3-861F-559BD84BA4F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-1" y="0"/>
            <a:ext cx="5306316" cy="6858000"/>
          </a:xfrm>
          <a:custGeom>
            <a:avLst/>
            <a:gdLst>
              <a:gd name="connsiteX0" fmla="*/ 0 w 5306316"/>
              <a:gd name="connsiteY0" fmla="*/ 0 h 6858000"/>
              <a:gd name="connsiteX1" fmla="*/ 1 w 5306316"/>
              <a:gd name="connsiteY1" fmla="*/ 0 h 6858000"/>
              <a:gd name="connsiteX2" fmla="*/ 4226196 w 5306316"/>
              <a:gd name="connsiteY2" fmla="*/ 0 h 6858000"/>
              <a:gd name="connsiteX3" fmla="*/ 5306315 w 5306316"/>
              <a:gd name="connsiteY3" fmla="*/ 792088 h 6858000"/>
              <a:gd name="connsiteX4" fmla="*/ 5306316 w 5306316"/>
              <a:gd name="connsiteY4" fmla="*/ 6065911 h 6858000"/>
              <a:gd name="connsiteX5" fmla="*/ 4226196 w 5306316"/>
              <a:gd name="connsiteY5" fmla="*/ 6857999 h 6858000"/>
              <a:gd name="connsiteX6" fmla="*/ 5306315 w 5306316"/>
              <a:gd name="connsiteY6" fmla="*/ 6857999 h 6858000"/>
              <a:gd name="connsiteX7" fmla="*/ 5306315 w 5306316"/>
              <a:gd name="connsiteY7" fmla="*/ 6858000 h 6858000"/>
              <a:gd name="connsiteX8" fmla="*/ 0 w 5306316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306316" h="6858000">
                <a:moveTo>
                  <a:pt x="0" y="0"/>
                </a:moveTo>
                <a:lnTo>
                  <a:pt x="1" y="0"/>
                </a:lnTo>
                <a:lnTo>
                  <a:pt x="4226196" y="0"/>
                </a:lnTo>
                <a:lnTo>
                  <a:pt x="5306315" y="792088"/>
                </a:lnTo>
                <a:lnTo>
                  <a:pt x="5306316" y="6065911"/>
                </a:lnTo>
                <a:lnTo>
                  <a:pt x="4226196" y="6857999"/>
                </a:lnTo>
                <a:lnTo>
                  <a:pt x="5306315" y="6857999"/>
                </a:lnTo>
                <a:lnTo>
                  <a:pt x="530631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>
            <a:lvl1pPr>
              <a:defRPr lang="en-US" sz="24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marL="0" lvl="0" algn="ctr" defTabSz="1219170"/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944522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B68B150-3AEF-4EC6-A386-269FF47B3C35}"/>
              </a:ext>
            </a:extLst>
          </p:cNvPr>
          <p:cNvSpPr/>
          <p:nvPr userDrawn="1"/>
        </p:nvSpPr>
        <p:spPr>
          <a:xfrm>
            <a:off x="0" y="0"/>
            <a:ext cx="10200456" cy="82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4E73B6-54A6-46B9-90A0-8BE05B8B61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5840" y="828000"/>
            <a:ext cx="6432160" cy="57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8C0AFBC-2082-4DF5-823F-5F32DB0B1EB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71EAA7-3162-4B69-9563-88D5A3B75B98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A908CAB-0C94-4A5C-B7A0-C3DC00F58C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7" t="23750" r="72707" b="29863"/>
          <a:stretch/>
        </p:blipFill>
        <p:spPr>
          <a:xfrm>
            <a:off x="1" y="0"/>
            <a:ext cx="4029711" cy="3920480"/>
          </a:xfrm>
          <a:custGeom>
            <a:avLst/>
            <a:gdLst>
              <a:gd name="connsiteX0" fmla="*/ 0 w 4029711"/>
              <a:gd name="connsiteY0" fmla="*/ 0 h 3920480"/>
              <a:gd name="connsiteX1" fmla="*/ 4029711 w 4029711"/>
              <a:gd name="connsiteY1" fmla="*/ 0 h 3920480"/>
              <a:gd name="connsiteX2" fmla="*/ 4029711 w 4029711"/>
              <a:gd name="connsiteY2" fmla="*/ 1657558 h 3920480"/>
              <a:gd name="connsiteX3" fmla="*/ 0 w 4029711"/>
              <a:gd name="connsiteY3" fmla="*/ 3920480 h 3920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29711" h="3920480">
                <a:moveTo>
                  <a:pt x="0" y="0"/>
                </a:moveTo>
                <a:lnTo>
                  <a:pt x="4029711" y="0"/>
                </a:lnTo>
                <a:lnTo>
                  <a:pt x="4029711" y="1657558"/>
                </a:lnTo>
                <a:lnTo>
                  <a:pt x="0" y="3920480"/>
                </a:lnTo>
                <a:close/>
              </a:path>
            </a:pathLst>
          </a:custGeom>
        </p:spPr>
      </p:pic>
      <p:sp>
        <p:nvSpPr>
          <p:cNvPr id="15" name="Pladsholder til tekst 6">
            <a:extLst>
              <a:ext uri="{FF2B5EF4-FFF2-40B4-BE49-F238E27FC236}">
                <a16:creationId xmlns:a16="http://schemas.microsoft.com/office/drawing/2014/main" id="{FEC79952-5D86-4D5E-BA14-F2B446386FA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55840" y="1908000"/>
            <a:ext cx="6432160" cy="37080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GB" sz="1600" noProof="0" dirty="0">
                <a:solidFill>
                  <a:schemeClr val="accent2"/>
                </a:solidFill>
                <a:cs typeface="Calibri Light" panose="020F0302020204030204" pitchFamily="34" charset="0"/>
              </a:defRPr>
            </a:lvl1pPr>
          </a:lstStyle>
          <a:p>
            <a:pPr marL="285750" lvl="0" indent="-28575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</a:pPr>
            <a:r>
              <a:rPr lang="en-GB" noProof="0"/>
              <a:t>Text (remove bullet for plain text – and mark a line with Bold and “Blue, </a:t>
            </a:r>
            <a:r>
              <a:rPr lang="en-GB" noProof="0" err="1"/>
              <a:t>color</a:t>
            </a:r>
            <a:r>
              <a:rPr lang="en-GB" noProof="0"/>
              <a:t> 1” from Theme colours, if you need a sub heading)</a:t>
            </a:r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154013C0-B14E-4AAF-B338-F9063271377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65956" y="1421511"/>
            <a:ext cx="3461186" cy="4014978"/>
          </a:xfrm>
          <a:custGeom>
            <a:avLst/>
            <a:gdLst>
              <a:gd name="connsiteX0" fmla="*/ 1730593 w 3461186"/>
              <a:gd name="connsiteY0" fmla="*/ 0 h 4014978"/>
              <a:gd name="connsiteX1" fmla="*/ 3461186 w 3461186"/>
              <a:gd name="connsiteY1" fmla="*/ 865297 h 4014978"/>
              <a:gd name="connsiteX2" fmla="*/ 3461186 w 3461186"/>
              <a:gd name="connsiteY2" fmla="*/ 3149681 h 4014978"/>
              <a:gd name="connsiteX3" fmla="*/ 1730593 w 3461186"/>
              <a:gd name="connsiteY3" fmla="*/ 4014978 h 4014978"/>
              <a:gd name="connsiteX4" fmla="*/ 0 w 3461186"/>
              <a:gd name="connsiteY4" fmla="*/ 3149681 h 4014978"/>
              <a:gd name="connsiteX5" fmla="*/ 0 w 3461186"/>
              <a:gd name="connsiteY5" fmla="*/ 865297 h 4014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461186" h="4014978">
                <a:moveTo>
                  <a:pt x="1730593" y="0"/>
                </a:moveTo>
                <a:lnTo>
                  <a:pt x="3461186" y="865297"/>
                </a:lnTo>
                <a:lnTo>
                  <a:pt x="3461186" y="3149681"/>
                </a:lnTo>
                <a:lnTo>
                  <a:pt x="1730593" y="4014978"/>
                </a:lnTo>
                <a:lnTo>
                  <a:pt x="0" y="3149681"/>
                </a:lnTo>
                <a:lnTo>
                  <a:pt x="0" y="865297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ctr" anchorCtr="0">
            <a:noAutofit/>
          </a:bodyPr>
          <a:lstStyle>
            <a:lvl1pPr>
              <a:defRPr lang="en-US" sz="24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marL="0" lvl="0" algn="ctr" defTabSz="1219170"/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98881676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8381C9BB-75B9-4BD7-A4EA-570BA23A49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2191998 w 12192000"/>
              <a:gd name="connsiteY0" fmla="*/ 0 h 6858000"/>
              <a:gd name="connsiteX1" fmla="*/ 12191998 w 12192000"/>
              <a:gd name="connsiteY1" fmla="*/ 2915920 h 6858000"/>
              <a:gd name="connsiteX2" fmla="*/ 12191998 w 12192000"/>
              <a:gd name="connsiteY2" fmla="*/ 4740384 h 6858000"/>
              <a:gd name="connsiteX3" fmla="*/ 12192000 w 12192000"/>
              <a:gd name="connsiteY3" fmla="*/ 4740384 h 6858000"/>
              <a:gd name="connsiteX4" fmla="*/ 12192000 w 12192000"/>
              <a:gd name="connsiteY4" fmla="*/ 5157192 h 6858000"/>
              <a:gd name="connsiteX5" fmla="*/ 10560496 w 12192000"/>
              <a:gd name="connsiteY5" fmla="*/ 6371888 h 6858000"/>
              <a:gd name="connsiteX6" fmla="*/ 7752184 w 12192000"/>
              <a:gd name="connsiteY6" fmla="*/ 6371888 h 6858000"/>
              <a:gd name="connsiteX7" fmla="*/ 7752184 w 12192000"/>
              <a:gd name="connsiteY7" fmla="*/ 6371441 h 6858000"/>
              <a:gd name="connsiteX8" fmla="*/ 869750 w 12192000"/>
              <a:gd name="connsiteY8" fmla="*/ 6371441 h 6858000"/>
              <a:gd name="connsiteX9" fmla="*/ 3307 w 12192000"/>
              <a:gd name="connsiteY9" fmla="*/ 6858000 h 6858000"/>
              <a:gd name="connsiteX10" fmla="*/ 1 w 12192000"/>
              <a:gd name="connsiteY10" fmla="*/ 6858000 h 6858000"/>
              <a:gd name="connsiteX11" fmla="*/ 0 w 12192000"/>
              <a:gd name="connsiteY11" fmla="*/ 828001 h 6858000"/>
              <a:gd name="connsiteX12" fmla="*/ 0 w 12192000"/>
              <a:gd name="connsiteY12" fmla="*/ 477520 h 6858000"/>
              <a:gd name="connsiteX13" fmla="*/ 0 w 12192000"/>
              <a:gd name="connsiteY13" fmla="*/ 1 h 6858000"/>
              <a:gd name="connsiteX14" fmla="*/ 9997332 w 12192000"/>
              <a:gd name="connsiteY14" fmla="*/ 1 h 6858000"/>
              <a:gd name="connsiteX0" fmla="*/ 12191998 w 12192000"/>
              <a:gd name="connsiteY0" fmla="*/ 0 h 6858000"/>
              <a:gd name="connsiteX1" fmla="*/ 12191998 w 12192000"/>
              <a:gd name="connsiteY1" fmla="*/ 2915920 h 6858000"/>
              <a:gd name="connsiteX2" fmla="*/ 12191998 w 12192000"/>
              <a:gd name="connsiteY2" fmla="*/ 4740384 h 6858000"/>
              <a:gd name="connsiteX3" fmla="*/ 12192000 w 12192000"/>
              <a:gd name="connsiteY3" fmla="*/ 5157192 h 6858000"/>
              <a:gd name="connsiteX4" fmla="*/ 10560496 w 12192000"/>
              <a:gd name="connsiteY4" fmla="*/ 6371888 h 6858000"/>
              <a:gd name="connsiteX5" fmla="*/ 7752184 w 12192000"/>
              <a:gd name="connsiteY5" fmla="*/ 6371888 h 6858000"/>
              <a:gd name="connsiteX6" fmla="*/ 7752184 w 12192000"/>
              <a:gd name="connsiteY6" fmla="*/ 6371441 h 6858000"/>
              <a:gd name="connsiteX7" fmla="*/ 869750 w 12192000"/>
              <a:gd name="connsiteY7" fmla="*/ 6371441 h 6858000"/>
              <a:gd name="connsiteX8" fmla="*/ 3307 w 12192000"/>
              <a:gd name="connsiteY8" fmla="*/ 6858000 h 6858000"/>
              <a:gd name="connsiteX9" fmla="*/ 1 w 12192000"/>
              <a:gd name="connsiteY9" fmla="*/ 6858000 h 6858000"/>
              <a:gd name="connsiteX10" fmla="*/ 0 w 12192000"/>
              <a:gd name="connsiteY10" fmla="*/ 828001 h 6858000"/>
              <a:gd name="connsiteX11" fmla="*/ 0 w 12192000"/>
              <a:gd name="connsiteY11" fmla="*/ 477520 h 6858000"/>
              <a:gd name="connsiteX12" fmla="*/ 0 w 12192000"/>
              <a:gd name="connsiteY12" fmla="*/ 1 h 6858000"/>
              <a:gd name="connsiteX13" fmla="*/ 9997332 w 12192000"/>
              <a:gd name="connsiteY13" fmla="*/ 1 h 6858000"/>
              <a:gd name="connsiteX14" fmla="*/ 12191998 w 12192000"/>
              <a:gd name="connsiteY14" fmla="*/ 0 h 6858000"/>
              <a:gd name="connsiteX0" fmla="*/ 12191998 w 12192000"/>
              <a:gd name="connsiteY0" fmla="*/ 0 h 6858000"/>
              <a:gd name="connsiteX1" fmla="*/ 12191998 w 12192000"/>
              <a:gd name="connsiteY1" fmla="*/ 2915920 h 6858000"/>
              <a:gd name="connsiteX2" fmla="*/ 12192000 w 12192000"/>
              <a:gd name="connsiteY2" fmla="*/ 5157192 h 6858000"/>
              <a:gd name="connsiteX3" fmla="*/ 10560496 w 12192000"/>
              <a:gd name="connsiteY3" fmla="*/ 6371888 h 6858000"/>
              <a:gd name="connsiteX4" fmla="*/ 7752184 w 12192000"/>
              <a:gd name="connsiteY4" fmla="*/ 6371888 h 6858000"/>
              <a:gd name="connsiteX5" fmla="*/ 7752184 w 12192000"/>
              <a:gd name="connsiteY5" fmla="*/ 6371441 h 6858000"/>
              <a:gd name="connsiteX6" fmla="*/ 869750 w 12192000"/>
              <a:gd name="connsiteY6" fmla="*/ 6371441 h 6858000"/>
              <a:gd name="connsiteX7" fmla="*/ 3307 w 12192000"/>
              <a:gd name="connsiteY7" fmla="*/ 6858000 h 6858000"/>
              <a:gd name="connsiteX8" fmla="*/ 1 w 12192000"/>
              <a:gd name="connsiteY8" fmla="*/ 6858000 h 6858000"/>
              <a:gd name="connsiteX9" fmla="*/ 0 w 12192000"/>
              <a:gd name="connsiteY9" fmla="*/ 828001 h 6858000"/>
              <a:gd name="connsiteX10" fmla="*/ 0 w 12192000"/>
              <a:gd name="connsiteY10" fmla="*/ 477520 h 6858000"/>
              <a:gd name="connsiteX11" fmla="*/ 0 w 12192000"/>
              <a:gd name="connsiteY11" fmla="*/ 1 h 6858000"/>
              <a:gd name="connsiteX12" fmla="*/ 9997332 w 12192000"/>
              <a:gd name="connsiteY12" fmla="*/ 1 h 6858000"/>
              <a:gd name="connsiteX13" fmla="*/ 12191998 w 12192000"/>
              <a:gd name="connsiteY13" fmla="*/ 0 h 6858000"/>
              <a:gd name="connsiteX0" fmla="*/ 12191998 w 12192000"/>
              <a:gd name="connsiteY0" fmla="*/ 0 h 6858000"/>
              <a:gd name="connsiteX1" fmla="*/ 12191998 w 12192000"/>
              <a:gd name="connsiteY1" fmla="*/ 2915920 h 6858000"/>
              <a:gd name="connsiteX2" fmla="*/ 12192000 w 12192000"/>
              <a:gd name="connsiteY2" fmla="*/ 5157192 h 6858000"/>
              <a:gd name="connsiteX3" fmla="*/ 10560496 w 12192000"/>
              <a:gd name="connsiteY3" fmla="*/ 6371888 h 6858000"/>
              <a:gd name="connsiteX4" fmla="*/ 7752184 w 12192000"/>
              <a:gd name="connsiteY4" fmla="*/ 6371888 h 6858000"/>
              <a:gd name="connsiteX5" fmla="*/ 869750 w 12192000"/>
              <a:gd name="connsiteY5" fmla="*/ 6371441 h 6858000"/>
              <a:gd name="connsiteX6" fmla="*/ 3307 w 12192000"/>
              <a:gd name="connsiteY6" fmla="*/ 6858000 h 6858000"/>
              <a:gd name="connsiteX7" fmla="*/ 1 w 12192000"/>
              <a:gd name="connsiteY7" fmla="*/ 6858000 h 6858000"/>
              <a:gd name="connsiteX8" fmla="*/ 0 w 12192000"/>
              <a:gd name="connsiteY8" fmla="*/ 828001 h 6858000"/>
              <a:gd name="connsiteX9" fmla="*/ 0 w 12192000"/>
              <a:gd name="connsiteY9" fmla="*/ 477520 h 6858000"/>
              <a:gd name="connsiteX10" fmla="*/ 0 w 12192000"/>
              <a:gd name="connsiteY10" fmla="*/ 1 h 6858000"/>
              <a:gd name="connsiteX11" fmla="*/ 9997332 w 12192000"/>
              <a:gd name="connsiteY11" fmla="*/ 1 h 6858000"/>
              <a:gd name="connsiteX12" fmla="*/ 12191998 w 12192000"/>
              <a:gd name="connsiteY12" fmla="*/ 0 h 6858000"/>
              <a:gd name="connsiteX0" fmla="*/ 12191998 w 12192000"/>
              <a:gd name="connsiteY0" fmla="*/ 0 h 6858000"/>
              <a:gd name="connsiteX1" fmla="*/ 12191998 w 12192000"/>
              <a:gd name="connsiteY1" fmla="*/ 2915920 h 6858000"/>
              <a:gd name="connsiteX2" fmla="*/ 12192000 w 12192000"/>
              <a:gd name="connsiteY2" fmla="*/ 5157192 h 6858000"/>
              <a:gd name="connsiteX3" fmla="*/ 10560496 w 12192000"/>
              <a:gd name="connsiteY3" fmla="*/ 6371888 h 6858000"/>
              <a:gd name="connsiteX4" fmla="*/ 869750 w 12192000"/>
              <a:gd name="connsiteY4" fmla="*/ 6371441 h 6858000"/>
              <a:gd name="connsiteX5" fmla="*/ 3307 w 12192000"/>
              <a:gd name="connsiteY5" fmla="*/ 6858000 h 6858000"/>
              <a:gd name="connsiteX6" fmla="*/ 1 w 12192000"/>
              <a:gd name="connsiteY6" fmla="*/ 6858000 h 6858000"/>
              <a:gd name="connsiteX7" fmla="*/ 0 w 12192000"/>
              <a:gd name="connsiteY7" fmla="*/ 828001 h 6858000"/>
              <a:gd name="connsiteX8" fmla="*/ 0 w 12192000"/>
              <a:gd name="connsiteY8" fmla="*/ 477520 h 6858000"/>
              <a:gd name="connsiteX9" fmla="*/ 0 w 12192000"/>
              <a:gd name="connsiteY9" fmla="*/ 1 h 6858000"/>
              <a:gd name="connsiteX10" fmla="*/ 9997332 w 12192000"/>
              <a:gd name="connsiteY10" fmla="*/ 1 h 6858000"/>
              <a:gd name="connsiteX11" fmla="*/ 12191998 w 12192000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58000">
                <a:moveTo>
                  <a:pt x="12191998" y="0"/>
                </a:moveTo>
                <a:lnTo>
                  <a:pt x="12191998" y="2915920"/>
                </a:lnTo>
                <a:cubicBezTo>
                  <a:pt x="12191999" y="3663011"/>
                  <a:pt x="12191999" y="4410101"/>
                  <a:pt x="12192000" y="5157192"/>
                </a:cubicBezTo>
                <a:lnTo>
                  <a:pt x="10560496" y="6371888"/>
                </a:lnTo>
                <a:lnTo>
                  <a:pt x="869750" y="6371441"/>
                </a:lnTo>
                <a:lnTo>
                  <a:pt x="3307" y="6858000"/>
                </a:lnTo>
                <a:lnTo>
                  <a:pt x="1" y="6858000"/>
                </a:lnTo>
                <a:cubicBezTo>
                  <a:pt x="1" y="4848000"/>
                  <a:pt x="0" y="2838001"/>
                  <a:pt x="0" y="828001"/>
                </a:cubicBezTo>
                <a:lnTo>
                  <a:pt x="0" y="477520"/>
                </a:lnTo>
                <a:lnTo>
                  <a:pt x="0" y="1"/>
                </a:lnTo>
                <a:lnTo>
                  <a:pt x="9997332" y="1"/>
                </a:lnTo>
                <a:lnTo>
                  <a:pt x="12191998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ladsholder til tekst 6">
            <a:extLst>
              <a:ext uri="{FF2B5EF4-FFF2-40B4-BE49-F238E27FC236}">
                <a16:creationId xmlns:a16="http://schemas.microsoft.com/office/drawing/2014/main" id="{75221037-8D0D-4A48-8BAC-0322E72D8DD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1392806"/>
            <a:ext cx="5735960" cy="4072387"/>
          </a:xfrm>
          <a:gradFill flip="none" rotWithShape="1">
            <a:gsLst>
              <a:gs pos="83000">
                <a:schemeClr val="bg1">
                  <a:alpha val="80000"/>
                </a:schemeClr>
              </a:gs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</p:spPr>
        <p:txBody>
          <a:bodyPr vert="horz" lIns="720000" tIns="0" rIns="900000" bIns="0" rtlCol="0" anchor="ctr" anchorCtr="0">
            <a:noAutofit/>
          </a:bodyPr>
          <a:lstStyle>
            <a:lvl1pPr>
              <a:defRPr kumimoji="0" lang="en-GB" sz="2000" b="0" i="0" u="none" strike="noStrike" cap="none" spc="0" normalizeH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Calibri"/>
                <a:cs typeface="Calibri Light" panose="020F0302020204030204" pitchFamily="34" charset="0"/>
              </a:defRPr>
            </a:lvl1pPr>
          </a:lstStyle>
          <a:p>
            <a:pPr marL="0" marR="0" lvl="0" indent="0" fontAlgn="auto">
              <a:spcAft>
                <a:spcPts val="0"/>
              </a:spcAft>
              <a:buNone/>
              <a:tabLst/>
            </a:pPr>
            <a:r>
              <a:rPr lang="en-GB" noProof="0"/>
              <a:t>Text (remove bullet for plain text – and mark a line with Bold and “Blue, </a:t>
            </a:r>
            <a:r>
              <a:rPr lang="en-GB" noProof="0" err="1"/>
              <a:t>color</a:t>
            </a:r>
            <a:r>
              <a:rPr lang="en-GB" noProof="0"/>
              <a:t> 1” from Theme colours, if you need a sub heading)</a:t>
            </a: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05CB12ED-63CD-43A9-8B1E-CAA542A377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778" t="35860" r="1778" b="28293"/>
          <a:stretch/>
        </p:blipFill>
        <p:spPr>
          <a:xfrm>
            <a:off x="0" y="2915920"/>
            <a:ext cx="12192000" cy="3942080"/>
          </a:xfrm>
          <a:custGeom>
            <a:avLst/>
            <a:gdLst>
              <a:gd name="connsiteX0" fmla="*/ 0 w 12192000"/>
              <a:gd name="connsiteY0" fmla="*/ 3455521 h 3942080"/>
              <a:gd name="connsiteX1" fmla="*/ 1 w 12192000"/>
              <a:gd name="connsiteY1" fmla="*/ 3455521 h 3942080"/>
              <a:gd name="connsiteX2" fmla="*/ 1 w 12192000"/>
              <a:gd name="connsiteY2" fmla="*/ 3942080 h 3942080"/>
              <a:gd name="connsiteX3" fmla="*/ 0 w 12192000"/>
              <a:gd name="connsiteY3" fmla="*/ 3942080 h 3942080"/>
              <a:gd name="connsiteX4" fmla="*/ 12192000 w 12192000"/>
              <a:gd name="connsiteY4" fmla="*/ 2241272 h 3942080"/>
              <a:gd name="connsiteX5" fmla="*/ 12192000 w 12192000"/>
              <a:gd name="connsiteY5" fmla="*/ 3942080 h 3942080"/>
              <a:gd name="connsiteX6" fmla="*/ 3307 w 12192000"/>
              <a:gd name="connsiteY6" fmla="*/ 3942080 h 3942080"/>
              <a:gd name="connsiteX7" fmla="*/ 869750 w 12192000"/>
              <a:gd name="connsiteY7" fmla="*/ 3455521 h 3942080"/>
              <a:gd name="connsiteX8" fmla="*/ 10560496 w 12192000"/>
              <a:gd name="connsiteY8" fmla="*/ 3455968 h 3942080"/>
              <a:gd name="connsiteX9" fmla="*/ 12191998 w 12192000"/>
              <a:gd name="connsiteY9" fmla="*/ 0 h 3942080"/>
              <a:gd name="connsiteX10" fmla="*/ 12192000 w 12192000"/>
              <a:gd name="connsiteY10" fmla="*/ 0 h 3942080"/>
              <a:gd name="connsiteX11" fmla="*/ 12192000 w 12192000"/>
              <a:gd name="connsiteY11" fmla="*/ 2241272 h 3942080"/>
              <a:gd name="connsiteX12" fmla="*/ 12191998 w 12192000"/>
              <a:gd name="connsiteY12" fmla="*/ 0 h 3942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2000" h="3942080">
                <a:moveTo>
                  <a:pt x="0" y="3455521"/>
                </a:moveTo>
                <a:lnTo>
                  <a:pt x="1" y="3455521"/>
                </a:lnTo>
                <a:lnTo>
                  <a:pt x="1" y="3942080"/>
                </a:lnTo>
                <a:lnTo>
                  <a:pt x="0" y="3942080"/>
                </a:lnTo>
                <a:close/>
                <a:moveTo>
                  <a:pt x="12192000" y="2241272"/>
                </a:moveTo>
                <a:lnTo>
                  <a:pt x="12192000" y="3942080"/>
                </a:lnTo>
                <a:lnTo>
                  <a:pt x="3307" y="3942080"/>
                </a:lnTo>
                <a:lnTo>
                  <a:pt x="869750" y="3455521"/>
                </a:lnTo>
                <a:lnTo>
                  <a:pt x="10560496" y="3455968"/>
                </a:lnTo>
                <a:close/>
                <a:moveTo>
                  <a:pt x="12191998" y="0"/>
                </a:moveTo>
                <a:lnTo>
                  <a:pt x="12192000" y="0"/>
                </a:lnTo>
                <a:lnTo>
                  <a:pt x="12192000" y="2241272"/>
                </a:lnTo>
                <a:cubicBezTo>
                  <a:pt x="12191999" y="1494181"/>
                  <a:pt x="12191999" y="747091"/>
                  <a:pt x="12191998" y="0"/>
                </a:cubicBezTo>
                <a:close/>
              </a:path>
            </a:pathLst>
          </a:custGeom>
        </p:spPr>
      </p:pic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8471EAA7-3162-4B69-9563-88D5A3B75B9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425390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" name="Picture 48">
            <a:extLst>
              <a:ext uri="{FF2B5EF4-FFF2-40B4-BE49-F238E27FC236}">
                <a16:creationId xmlns:a16="http://schemas.microsoft.com/office/drawing/2014/main" id="{B0D649D6-27F9-47C6-9E95-50CE1B261E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97" t="33651" r="72327" b="61645"/>
          <a:stretch/>
        </p:blipFill>
        <p:spPr>
          <a:xfrm>
            <a:off x="8682173" y="5479158"/>
            <a:ext cx="2795452" cy="322050"/>
          </a:xfrm>
          <a:custGeom>
            <a:avLst/>
            <a:gdLst>
              <a:gd name="connsiteX0" fmla="*/ 0 w 2771640"/>
              <a:gd name="connsiteY0" fmla="*/ 0 h 327892"/>
              <a:gd name="connsiteX1" fmla="*/ 2171038 w 2771640"/>
              <a:gd name="connsiteY1" fmla="*/ 0 h 327892"/>
              <a:gd name="connsiteX2" fmla="*/ 2771640 w 2771640"/>
              <a:gd name="connsiteY2" fmla="*/ 327422 h 327892"/>
              <a:gd name="connsiteX3" fmla="*/ 2770778 w 2771640"/>
              <a:gd name="connsiteY3" fmla="*/ 327892 h 327892"/>
              <a:gd name="connsiteX4" fmla="*/ 0 w 2771640"/>
              <a:gd name="connsiteY4" fmla="*/ 327892 h 327892"/>
              <a:gd name="connsiteX5" fmla="*/ 0 w 2771640"/>
              <a:gd name="connsiteY5" fmla="*/ 0 h 327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71640" h="327892">
                <a:moveTo>
                  <a:pt x="0" y="0"/>
                </a:moveTo>
                <a:lnTo>
                  <a:pt x="2171038" y="0"/>
                </a:lnTo>
                <a:lnTo>
                  <a:pt x="2771640" y="327422"/>
                </a:lnTo>
                <a:lnTo>
                  <a:pt x="2770778" y="327892"/>
                </a:lnTo>
                <a:lnTo>
                  <a:pt x="0" y="327892"/>
                </a:lnTo>
                <a:lnTo>
                  <a:pt x="0" y="0"/>
                </a:lnTo>
                <a:close/>
              </a:path>
            </a:pathLst>
          </a:cu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55A94EED-FB7D-4F65-BAE6-3E422A46FC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97" t="33651" r="72327" b="61645"/>
          <a:stretch/>
        </p:blipFill>
        <p:spPr>
          <a:xfrm>
            <a:off x="8682173" y="3326606"/>
            <a:ext cx="2795452" cy="322050"/>
          </a:xfrm>
          <a:custGeom>
            <a:avLst/>
            <a:gdLst>
              <a:gd name="connsiteX0" fmla="*/ 0 w 2771640"/>
              <a:gd name="connsiteY0" fmla="*/ 0 h 327892"/>
              <a:gd name="connsiteX1" fmla="*/ 2171038 w 2771640"/>
              <a:gd name="connsiteY1" fmla="*/ 0 h 327892"/>
              <a:gd name="connsiteX2" fmla="*/ 2771640 w 2771640"/>
              <a:gd name="connsiteY2" fmla="*/ 327422 h 327892"/>
              <a:gd name="connsiteX3" fmla="*/ 2770778 w 2771640"/>
              <a:gd name="connsiteY3" fmla="*/ 327892 h 327892"/>
              <a:gd name="connsiteX4" fmla="*/ 0 w 2771640"/>
              <a:gd name="connsiteY4" fmla="*/ 327892 h 327892"/>
              <a:gd name="connsiteX5" fmla="*/ 0 w 2771640"/>
              <a:gd name="connsiteY5" fmla="*/ 0 h 327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71640" h="327892">
                <a:moveTo>
                  <a:pt x="0" y="0"/>
                </a:moveTo>
                <a:lnTo>
                  <a:pt x="2171038" y="0"/>
                </a:lnTo>
                <a:lnTo>
                  <a:pt x="2771640" y="327422"/>
                </a:lnTo>
                <a:lnTo>
                  <a:pt x="2770778" y="327892"/>
                </a:lnTo>
                <a:lnTo>
                  <a:pt x="0" y="327892"/>
                </a:lnTo>
                <a:lnTo>
                  <a:pt x="0" y="0"/>
                </a:lnTo>
                <a:close/>
              </a:path>
            </a:pathLst>
          </a:cu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08323E3F-C77E-4E12-A816-99FC051BFA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" t="40804" r="54907" b="47991"/>
          <a:stretch/>
        </p:blipFill>
        <p:spPr>
          <a:xfrm>
            <a:off x="715236" y="5333865"/>
            <a:ext cx="6371364" cy="896228"/>
          </a:xfrm>
          <a:custGeom>
            <a:avLst/>
            <a:gdLst>
              <a:gd name="connsiteX0" fmla="*/ 0 w 6312104"/>
              <a:gd name="connsiteY0" fmla="*/ 0 h 876755"/>
              <a:gd name="connsiteX1" fmla="*/ 5507971 w 6312104"/>
              <a:gd name="connsiteY1" fmla="*/ 0 h 876755"/>
              <a:gd name="connsiteX2" fmla="*/ 6312104 w 6312104"/>
              <a:gd name="connsiteY2" fmla="*/ 438378 h 876755"/>
              <a:gd name="connsiteX3" fmla="*/ 5507971 w 6312104"/>
              <a:gd name="connsiteY3" fmla="*/ 876755 h 876755"/>
              <a:gd name="connsiteX4" fmla="*/ 0 w 6312104"/>
              <a:gd name="connsiteY4" fmla="*/ 876755 h 876755"/>
              <a:gd name="connsiteX5" fmla="*/ 0 w 6312104"/>
              <a:gd name="connsiteY5" fmla="*/ 0 h 8767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12104" h="876755">
                <a:moveTo>
                  <a:pt x="0" y="0"/>
                </a:moveTo>
                <a:lnTo>
                  <a:pt x="5507971" y="0"/>
                </a:lnTo>
                <a:lnTo>
                  <a:pt x="6312104" y="438378"/>
                </a:lnTo>
                <a:lnTo>
                  <a:pt x="5507971" y="876755"/>
                </a:lnTo>
                <a:lnTo>
                  <a:pt x="0" y="876755"/>
                </a:lnTo>
                <a:lnTo>
                  <a:pt x="0" y="0"/>
                </a:lnTo>
                <a:close/>
              </a:path>
            </a:pathLst>
          </a:custGeom>
        </p:spPr>
      </p:pic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ing</a:t>
            </a:r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471EAA7-3162-4B69-9563-88D5A3B75B9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A8F4D1E3-A804-4D77-A989-FAFA156DD17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682173" y="1734813"/>
            <a:ext cx="2903767" cy="1913843"/>
          </a:xfrm>
          <a:custGeom>
            <a:avLst/>
            <a:gdLst>
              <a:gd name="connsiteX0" fmla="*/ 0 w 2903767"/>
              <a:gd name="connsiteY0" fmla="*/ 0 h 1913843"/>
              <a:gd name="connsiteX1" fmla="*/ 2903767 w 2903767"/>
              <a:gd name="connsiteY1" fmla="*/ 0 h 1913843"/>
              <a:gd name="connsiteX2" fmla="*/ 2903767 w 2903767"/>
              <a:gd name="connsiteY2" fmla="*/ 1913843 h 1913843"/>
              <a:gd name="connsiteX3" fmla="*/ 2771888 w 2903767"/>
              <a:gd name="connsiteY3" fmla="*/ 1913843 h 1913843"/>
              <a:gd name="connsiteX4" fmla="*/ 2185792 w 2903767"/>
              <a:gd name="connsiteY4" fmla="*/ 1588825 h 1913843"/>
              <a:gd name="connsiteX5" fmla="*/ 2185792 w 2903767"/>
              <a:gd name="connsiteY5" fmla="*/ 1913843 h 1913843"/>
              <a:gd name="connsiteX6" fmla="*/ 2185781 w 2903767"/>
              <a:gd name="connsiteY6" fmla="*/ 1913843 h 1913843"/>
              <a:gd name="connsiteX7" fmla="*/ 2185781 w 2903767"/>
              <a:gd name="connsiteY7" fmla="*/ 1588823 h 1913843"/>
              <a:gd name="connsiteX8" fmla="*/ 0 w 2903767"/>
              <a:gd name="connsiteY8" fmla="*/ 1588823 h 1913843"/>
              <a:gd name="connsiteX0" fmla="*/ 0 w 2903767"/>
              <a:gd name="connsiteY0" fmla="*/ 0 h 1913843"/>
              <a:gd name="connsiteX1" fmla="*/ 2903767 w 2903767"/>
              <a:gd name="connsiteY1" fmla="*/ 0 h 1913843"/>
              <a:gd name="connsiteX2" fmla="*/ 2903767 w 2903767"/>
              <a:gd name="connsiteY2" fmla="*/ 1913843 h 1913843"/>
              <a:gd name="connsiteX3" fmla="*/ 2771888 w 2903767"/>
              <a:gd name="connsiteY3" fmla="*/ 1913843 h 1913843"/>
              <a:gd name="connsiteX4" fmla="*/ 2185792 w 2903767"/>
              <a:gd name="connsiteY4" fmla="*/ 1588825 h 1913843"/>
              <a:gd name="connsiteX5" fmla="*/ 2185792 w 2903767"/>
              <a:gd name="connsiteY5" fmla="*/ 1913843 h 1913843"/>
              <a:gd name="connsiteX6" fmla="*/ 2185781 w 2903767"/>
              <a:gd name="connsiteY6" fmla="*/ 1588823 h 1913843"/>
              <a:gd name="connsiteX7" fmla="*/ 0 w 2903767"/>
              <a:gd name="connsiteY7" fmla="*/ 1588823 h 1913843"/>
              <a:gd name="connsiteX8" fmla="*/ 0 w 2903767"/>
              <a:gd name="connsiteY8" fmla="*/ 0 h 1913843"/>
              <a:gd name="connsiteX0" fmla="*/ 0 w 2903767"/>
              <a:gd name="connsiteY0" fmla="*/ 0 h 1913843"/>
              <a:gd name="connsiteX1" fmla="*/ 2903767 w 2903767"/>
              <a:gd name="connsiteY1" fmla="*/ 0 h 1913843"/>
              <a:gd name="connsiteX2" fmla="*/ 2903767 w 2903767"/>
              <a:gd name="connsiteY2" fmla="*/ 1913843 h 1913843"/>
              <a:gd name="connsiteX3" fmla="*/ 2771888 w 2903767"/>
              <a:gd name="connsiteY3" fmla="*/ 1913843 h 1913843"/>
              <a:gd name="connsiteX4" fmla="*/ 2185792 w 2903767"/>
              <a:gd name="connsiteY4" fmla="*/ 1588825 h 1913843"/>
              <a:gd name="connsiteX5" fmla="*/ 2185781 w 2903767"/>
              <a:gd name="connsiteY5" fmla="*/ 1588823 h 1913843"/>
              <a:gd name="connsiteX6" fmla="*/ 0 w 2903767"/>
              <a:gd name="connsiteY6" fmla="*/ 1588823 h 1913843"/>
              <a:gd name="connsiteX7" fmla="*/ 0 w 2903767"/>
              <a:gd name="connsiteY7" fmla="*/ 0 h 19138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03767" h="1913843">
                <a:moveTo>
                  <a:pt x="0" y="0"/>
                </a:moveTo>
                <a:lnTo>
                  <a:pt x="2903767" y="0"/>
                </a:lnTo>
                <a:lnTo>
                  <a:pt x="2903767" y="1913843"/>
                </a:lnTo>
                <a:lnTo>
                  <a:pt x="2771888" y="1913843"/>
                </a:lnTo>
                <a:lnTo>
                  <a:pt x="2185792" y="1588825"/>
                </a:lnTo>
                <a:cubicBezTo>
                  <a:pt x="2185788" y="1588824"/>
                  <a:pt x="2185785" y="1588824"/>
                  <a:pt x="2185781" y="1588823"/>
                </a:cubicBezTo>
                <a:lnTo>
                  <a:pt x="0" y="1588823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D6FF391-6D30-45F1-A3CB-4273BC9E28A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5237" y="1728822"/>
            <a:ext cx="7679530" cy="4072386"/>
          </a:xfrm>
          <a:custGeom>
            <a:avLst/>
            <a:gdLst>
              <a:gd name="connsiteX0" fmla="*/ 0 w 7679530"/>
              <a:gd name="connsiteY0" fmla="*/ 0 h 4072386"/>
              <a:gd name="connsiteX1" fmla="*/ 7679530 w 7679530"/>
              <a:gd name="connsiteY1" fmla="*/ 0 h 4072386"/>
              <a:gd name="connsiteX2" fmla="*/ 7679530 w 7679530"/>
              <a:gd name="connsiteY2" fmla="*/ 4072386 h 4072386"/>
              <a:gd name="connsiteX3" fmla="*/ 6334644 w 7679530"/>
              <a:gd name="connsiteY3" fmla="*/ 4072386 h 4072386"/>
              <a:gd name="connsiteX4" fmla="*/ 5493004 w 7679530"/>
              <a:gd name="connsiteY4" fmla="*/ 3605657 h 4072386"/>
              <a:gd name="connsiteX5" fmla="*/ 5493004 w 7679530"/>
              <a:gd name="connsiteY5" fmla="*/ 4072386 h 4072386"/>
              <a:gd name="connsiteX6" fmla="*/ 5492989 w 7679530"/>
              <a:gd name="connsiteY6" fmla="*/ 4072386 h 4072386"/>
              <a:gd name="connsiteX7" fmla="*/ 5492989 w 7679530"/>
              <a:gd name="connsiteY7" fmla="*/ 3605656 h 4072386"/>
              <a:gd name="connsiteX8" fmla="*/ 0 w 7679530"/>
              <a:gd name="connsiteY8" fmla="*/ 3605656 h 4072386"/>
              <a:gd name="connsiteX0" fmla="*/ 0 w 7679530"/>
              <a:gd name="connsiteY0" fmla="*/ 0 h 4072386"/>
              <a:gd name="connsiteX1" fmla="*/ 7679530 w 7679530"/>
              <a:gd name="connsiteY1" fmla="*/ 0 h 4072386"/>
              <a:gd name="connsiteX2" fmla="*/ 7679530 w 7679530"/>
              <a:gd name="connsiteY2" fmla="*/ 4072386 h 4072386"/>
              <a:gd name="connsiteX3" fmla="*/ 6334644 w 7679530"/>
              <a:gd name="connsiteY3" fmla="*/ 4072386 h 4072386"/>
              <a:gd name="connsiteX4" fmla="*/ 5493004 w 7679530"/>
              <a:gd name="connsiteY4" fmla="*/ 3605657 h 4072386"/>
              <a:gd name="connsiteX5" fmla="*/ 5493004 w 7679530"/>
              <a:gd name="connsiteY5" fmla="*/ 4072386 h 4072386"/>
              <a:gd name="connsiteX6" fmla="*/ 5492989 w 7679530"/>
              <a:gd name="connsiteY6" fmla="*/ 3605656 h 4072386"/>
              <a:gd name="connsiteX7" fmla="*/ 0 w 7679530"/>
              <a:gd name="connsiteY7" fmla="*/ 3605656 h 4072386"/>
              <a:gd name="connsiteX8" fmla="*/ 0 w 7679530"/>
              <a:gd name="connsiteY8" fmla="*/ 0 h 4072386"/>
              <a:gd name="connsiteX0" fmla="*/ 0 w 7679530"/>
              <a:gd name="connsiteY0" fmla="*/ 0 h 4072386"/>
              <a:gd name="connsiteX1" fmla="*/ 7679530 w 7679530"/>
              <a:gd name="connsiteY1" fmla="*/ 0 h 4072386"/>
              <a:gd name="connsiteX2" fmla="*/ 7679530 w 7679530"/>
              <a:gd name="connsiteY2" fmla="*/ 4072386 h 4072386"/>
              <a:gd name="connsiteX3" fmla="*/ 6334644 w 7679530"/>
              <a:gd name="connsiteY3" fmla="*/ 4072386 h 4072386"/>
              <a:gd name="connsiteX4" fmla="*/ 5493004 w 7679530"/>
              <a:gd name="connsiteY4" fmla="*/ 3605657 h 4072386"/>
              <a:gd name="connsiteX5" fmla="*/ 5492989 w 7679530"/>
              <a:gd name="connsiteY5" fmla="*/ 3605656 h 4072386"/>
              <a:gd name="connsiteX6" fmla="*/ 0 w 7679530"/>
              <a:gd name="connsiteY6" fmla="*/ 3605656 h 4072386"/>
              <a:gd name="connsiteX7" fmla="*/ 0 w 7679530"/>
              <a:gd name="connsiteY7" fmla="*/ 0 h 40723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679530" h="4072386">
                <a:moveTo>
                  <a:pt x="0" y="0"/>
                </a:moveTo>
                <a:lnTo>
                  <a:pt x="7679530" y="0"/>
                </a:lnTo>
                <a:lnTo>
                  <a:pt x="7679530" y="4072386"/>
                </a:lnTo>
                <a:lnTo>
                  <a:pt x="6334644" y="4072386"/>
                </a:lnTo>
                <a:lnTo>
                  <a:pt x="5493004" y="3605657"/>
                </a:lnTo>
                <a:cubicBezTo>
                  <a:pt x="5492999" y="3605657"/>
                  <a:pt x="5492994" y="3605656"/>
                  <a:pt x="5492989" y="3605656"/>
                </a:cubicBezTo>
                <a:lnTo>
                  <a:pt x="0" y="3605656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2E9C29E0-231F-471C-9E14-3ABEFA813BA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682173" y="3887365"/>
            <a:ext cx="2903767" cy="1913843"/>
          </a:xfrm>
          <a:custGeom>
            <a:avLst/>
            <a:gdLst>
              <a:gd name="connsiteX0" fmla="*/ 0 w 2903767"/>
              <a:gd name="connsiteY0" fmla="*/ 0 h 1913843"/>
              <a:gd name="connsiteX1" fmla="*/ 2903767 w 2903767"/>
              <a:gd name="connsiteY1" fmla="*/ 0 h 1913843"/>
              <a:gd name="connsiteX2" fmla="*/ 2903767 w 2903767"/>
              <a:gd name="connsiteY2" fmla="*/ 1913843 h 1913843"/>
              <a:gd name="connsiteX3" fmla="*/ 2771888 w 2903767"/>
              <a:gd name="connsiteY3" fmla="*/ 1913843 h 1913843"/>
              <a:gd name="connsiteX4" fmla="*/ 2185792 w 2903767"/>
              <a:gd name="connsiteY4" fmla="*/ 1588825 h 1913843"/>
              <a:gd name="connsiteX5" fmla="*/ 2185792 w 2903767"/>
              <a:gd name="connsiteY5" fmla="*/ 1913843 h 1913843"/>
              <a:gd name="connsiteX6" fmla="*/ 2185781 w 2903767"/>
              <a:gd name="connsiteY6" fmla="*/ 1913843 h 1913843"/>
              <a:gd name="connsiteX7" fmla="*/ 2185781 w 2903767"/>
              <a:gd name="connsiteY7" fmla="*/ 1588823 h 1913843"/>
              <a:gd name="connsiteX8" fmla="*/ 0 w 2903767"/>
              <a:gd name="connsiteY8" fmla="*/ 1588823 h 1913843"/>
              <a:gd name="connsiteX0" fmla="*/ 0 w 2903767"/>
              <a:gd name="connsiteY0" fmla="*/ 0 h 1913843"/>
              <a:gd name="connsiteX1" fmla="*/ 2903767 w 2903767"/>
              <a:gd name="connsiteY1" fmla="*/ 0 h 1913843"/>
              <a:gd name="connsiteX2" fmla="*/ 2903767 w 2903767"/>
              <a:gd name="connsiteY2" fmla="*/ 1913843 h 1913843"/>
              <a:gd name="connsiteX3" fmla="*/ 2771888 w 2903767"/>
              <a:gd name="connsiteY3" fmla="*/ 1913843 h 1913843"/>
              <a:gd name="connsiteX4" fmla="*/ 2185792 w 2903767"/>
              <a:gd name="connsiteY4" fmla="*/ 1588825 h 1913843"/>
              <a:gd name="connsiteX5" fmla="*/ 2185792 w 2903767"/>
              <a:gd name="connsiteY5" fmla="*/ 1913843 h 1913843"/>
              <a:gd name="connsiteX6" fmla="*/ 2185781 w 2903767"/>
              <a:gd name="connsiteY6" fmla="*/ 1588823 h 1913843"/>
              <a:gd name="connsiteX7" fmla="*/ 0 w 2903767"/>
              <a:gd name="connsiteY7" fmla="*/ 1588823 h 1913843"/>
              <a:gd name="connsiteX8" fmla="*/ 0 w 2903767"/>
              <a:gd name="connsiteY8" fmla="*/ 0 h 1913843"/>
              <a:gd name="connsiteX0" fmla="*/ 0 w 2903767"/>
              <a:gd name="connsiteY0" fmla="*/ 0 h 1913843"/>
              <a:gd name="connsiteX1" fmla="*/ 2903767 w 2903767"/>
              <a:gd name="connsiteY1" fmla="*/ 0 h 1913843"/>
              <a:gd name="connsiteX2" fmla="*/ 2903767 w 2903767"/>
              <a:gd name="connsiteY2" fmla="*/ 1913843 h 1913843"/>
              <a:gd name="connsiteX3" fmla="*/ 2771888 w 2903767"/>
              <a:gd name="connsiteY3" fmla="*/ 1913843 h 1913843"/>
              <a:gd name="connsiteX4" fmla="*/ 2185792 w 2903767"/>
              <a:gd name="connsiteY4" fmla="*/ 1588825 h 1913843"/>
              <a:gd name="connsiteX5" fmla="*/ 2185781 w 2903767"/>
              <a:gd name="connsiteY5" fmla="*/ 1588823 h 1913843"/>
              <a:gd name="connsiteX6" fmla="*/ 0 w 2903767"/>
              <a:gd name="connsiteY6" fmla="*/ 1588823 h 1913843"/>
              <a:gd name="connsiteX7" fmla="*/ 0 w 2903767"/>
              <a:gd name="connsiteY7" fmla="*/ 0 h 19138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03767" h="1913843">
                <a:moveTo>
                  <a:pt x="0" y="0"/>
                </a:moveTo>
                <a:lnTo>
                  <a:pt x="2903767" y="0"/>
                </a:lnTo>
                <a:lnTo>
                  <a:pt x="2903767" y="1913843"/>
                </a:lnTo>
                <a:lnTo>
                  <a:pt x="2771888" y="1913843"/>
                </a:lnTo>
                <a:lnTo>
                  <a:pt x="2185792" y="1588825"/>
                </a:lnTo>
                <a:cubicBezTo>
                  <a:pt x="2185788" y="1588824"/>
                  <a:pt x="2185785" y="1588824"/>
                  <a:pt x="2185781" y="1588823"/>
                </a:cubicBezTo>
                <a:lnTo>
                  <a:pt x="0" y="1588823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30" name="Pladsholder til tekst 6">
            <a:extLst>
              <a:ext uri="{FF2B5EF4-FFF2-40B4-BE49-F238E27FC236}">
                <a16:creationId xmlns:a16="http://schemas.microsoft.com/office/drawing/2014/main" id="{79F2D2E2-E776-4B9F-A4DB-46E81BEA0B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23924" y="5416550"/>
            <a:ext cx="5244083" cy="726664"/>
          </a:xfrm>
        </p:spPr>
        <p:txBody>
          <a:bodyPr anchor="ctr"/>
          <a:lstStyle>
            <a:lvl1pPr marL="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None/>
              <a:defRPr lang="en-GB" sz="1200" kern="1200" baseline="0" noProof="0" dirty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None/>
              <a:defRPr lang="en-GB" sz="1600" kern="1200" baseline="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Calibri Light" panose="020F0302020204030204" pitchFamily="34" charset="0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None/>
              <a:defRPr lang="en-GB" sz="1600" kern="1200" baseline="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None/>
              <a:defRPr lang="en-GB" sz="1600" kern="1200" baseline="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1" name="Pladsholder til tekst 6">
            <a:extLst>
              <a:ext uri="{FF2B5EF4-FFF2-40B4-BE49-F238E27FC236}">
                <a16:creationId xmlns:a16="http://schemas.microsoft.com/office/drawing/2014/main" id="{21200A4F-19A7-45FC-B469-27634CC03F2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845549" y="3352800"/>
            <a:ext cx="2044123" cy="295856"/>
          </a:xfrm>
        </p:spPr>
        <p:txBody>
          <a:bodyPr anchor="ctr"/>
          <a:lstStyle>
            <a:lvl1pPr marL="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None/>
              <a:defRPr lang="en-GB" sz="1200" kern="1200" baseline="0" noProof="0" dirty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None/>
              <a:defRPr lang="en-GB" sz="1600" kern="1200" baseline="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Calibri Light" panose="020F0302020204030204" pitchFamily="34" charset="0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None/>
              <a:defRPr lang="en-GB" sz="1600" kern="1200" baseline="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None/>
              <a:defRPr lang="en-GB" sz="1600" kern="1200" baseline="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3" name="Pladsholder til tekst 6">
            <a:extLst>
              <a:ext uri="{FF2B5EF4-FFF2-40B4-BE49-F238E27FC236}">
                <a16:creationId xmlns:a16="http://schemas.microsoft.com/office/drawing/2014/main" id="{B1177922-67F8-406F-8682-BCC96EE0E20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845549" y="5505352"/>
            <a:ext cx="2044123" cy="295856"/>
          </a:xfrm>
        </p:spPr>
        <p:txBody>
          <a:bodyPr anchor="ctr"/>
          <a:lstStyle>
            <a:lvl1pPr marL="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None/>
              <a:defRPr lang="en-GB" sz="1200" kern="1200" baseline="0" noProof="0" dirty="0">
                <a:solidFill>
                  <a:schemeClr val="bg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None/>
              <a:defRPr lang="en-GB" sz="1600" kern="1200" baseline="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Calibri Light" panose="020F0302020204030204" pitchFamily="34" charset="0"/>
              </a:defRPr>
            </a:lvl2pPr>
            <a:lvl3pPr marL="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None/>
              <a:defRPr lang="en-GB" sz="1600" kern="1200" baseline="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None/>
              <a:defRPr lang="en-GB" sz="1600" kern="1200" baseline="0" noProof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3762075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ing</a:t>
            </a:r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 vert="horz" lIns="0" tIns="0" rIns="0" bIns="0" rtlCol="0" anchor="t" anchorCtr="0"/>
          <a:lstStyle>
            <a:lvl1pPr>
              <a:defRPr lang="en-GB" smtClean="0">
                <a:solidFill>
                  <a:schemeClr val="accent2"/>
                </a:solidFill>
              </a:defRPr>
            </a:lvl1pPr>
          </a:lstStyle>
          <a:p>
            <a:fld id="{8471EAA7-3162-4B69-9563-88D5A3B75B9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19F1546-8994-4360-BAF8-464BCBCFBD5B}"/>
              </a:ext>
            </a:extLst>
          </p:cNvPr>
          <p:cNvSpPr/>
          <p:nvPr userDrawn="1"/>
        </p:nvSpPr>
        <p:spPr>
          <a:xfrm>
            <a:off x="0" y="0"/>
            <a:ext cx="10344472" cy="548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1542E86-E7DB-4089-A327-855208200B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589" b="89309"/>
          <a:stretch/>
        </p:blipFill>
        <p:spPr>
          <a:xfrm>
            <a:off x="10920538" y="1"/>
            <a:ext cx="1269063" cy="764703"/>
          </a:xfrm>
          <a:custGeom>
            <a:avLst/>
            <a:gdLst>
              <a:gd name="connsiteX0" fmla="*/ 0 w 1269063"/>
              <a:gd name="connsiteY0" fmla="*/ 0 h 764703"/>
              <a:gd name="connsiteX1" fmla="*/ 1269063 w 1269063"/>
              <a:gd name="connsiteY1" fmla="*/ 0 h 764703"/>
              <a:gd name="connsiteX2" fmla="*/ 1269063 w 1269063"/>
              <a:gd name="connsiteY2" fmla="*/ 764703 h 764703"/>
              <a:gd name="connsiteX3" fmla="*/ 0 w 1269063"/>
              <a:gd name="connsiteY3" fmla="*/ 764703 h 7647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69063" h="764703">
                <a:moveTo>
                  <a:pt x="0" y="0"/>
                </a:moveTo>
                <a:lnTo>
                  <a:pt x="1269063" y="0"/>
                </a:lnTo>
                <a:lnTo>
                  <a:pt x="1269063" y="764703"/>
                </a:lnTo>
                <a:lnTo>
                  <a:pt x="0" y="764703"/>
                </a:lnTo>
                <a:close/>
              </a:path>
            </a:pathLst>
          </a:custGeom>
        </p:spPr>
      </p:pic>
      <p:sp>
        <p:nvSpPr>
          <p:cNvPr id="19" name="Pladsholder til tekst 6">
            <a:extLst>
              <a:ext uri="{FF2B5EF4-FFF2-40B4-BE49-F238E27FC236}">
                <a16:creationId xmlns:a16="http://schemas.microsoft.com/office/drawing/2014/main" id="{50FE5481-DC7D-4D12-B10A-802F97F4997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0000" y="1908000"/>
            <a:ext cx="4932000" cy="3708000"/>
          </a:xfrm>
        </p:spPr>
        <p:txBody>
          <a:bodyPr/>
          <a:lstStyle>
            <a:lvl1pPr>
              <a:defRPr sz="2000" baseline="0">
                <a:solidFill>
                  <a:schemeClr val="accent2"/>
                </a:solidFill>
              </a:defRPr>
            </a:lvl1pPr>
            <a:lvl2pPr>
              <a:defRPr sz="2000">
                <a:solidFill>
                  <a:schemeClr val="accent2"/>
                </a:solidFill>
              </a:defRPr>
            </a:lvl2pPr>
            <a:lvl3pPr>
              <a:defRPr sz="2000">
                <a:solidFill>
                  <a:schemeClr val="accent2"/>
                </a:solidFill>
              </a:defRPr>
            </a:lvl3pPr>
            <a:lvl4pPr>
              <a:defRPr sz="2000">
                <a:solidFill>
                  <a:schemeClr val="accent2"/>
                </a:solidFill>
              </a:defRPr>
            </a:lvl4pPr>
            <a:lvl5pPr>
              <a:defRPr sz="2000"/>
            </a:lvl5pPr>
          </a:lstStyle>
          <a:p>
            <a:pPr lvl="0"/>
            <a:r>
              <a:rPr lang="en-GB" noProof="0"/>
              <a:t>Text (remove bullet for plain text – and mark a line with Bold and “Blue, </a:t>
            </a:r>
            <a:r>
              <a:rPr lang="en-GB" noProof="0" err="1"/>
              <a:t>color</a:t>
            </a:r>
            <a:r>
              <a:rPr lang="en-GB" noProof="0"/>
              <a:t> 1” from Theme colours, if you need a sub heading)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21" name="Pladsholder til tekst 2">
            <a:extLst>
              <a:ext uri="{FF2B5EF4-FFF2-40B4-BE49-F238E27FC236}">
                <a16:creationId xmlns:a16="http://schemas.microsoft.com/office/drawing/2014/main" id="{984F9D47-5A1B-4CD3-8B07-5AB78BA9D34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68008" y="1908000"/>
            <a:ext cx="4932000" cy="3708000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</a:defRPr>
            </a:lvl1pPr>
            <a:lvl2pPr>
              <a:defRPr sz="2000">
                <a:solidFill>
                  <a:schemeClr val="accent2"/>
                </a:solidFill>
              </a:defRPr>
            </a:lvl2pPr>
            <a:lvl3pPr>
              <a:defRPr sz="2000">
                <a:solidFill>
                  <a:schemeClr val="accent2"/>
                </a:solidFill>
              </a:defRPr>
            </a:lvl3pPr>
            <a:lvl4pPr>
              <a:defRPr sz="2000">
                <a:solidFill>
                  <a:schemeClr val="accent2"/>
                </a:solidFill>
              </a:defRPr>
            </a:lvl4pPr>
            <a:lvl5pPr>
              <a:defRPr sz="2000"/>
            </a:lvl5pPr>
          </a:lstStyle>
          <a:p>
            <a:pPr lvl="0"/>
            <a:r>
              <a:rPr lang="en-GB" noProof="0"/>
              <a:t>Text (remove bullet for plain text – and mark a line with Bold and “Blue, </a:t>
            </a:r>
            <a:r>
              <a:rPr lang="en-GB" noProof="0" err="1"/>
              <a:t>color</a:t>
            </a:r>
            <a:r>
              <a:rPr lang="en-GB" noProof="0"/>
              <a:t> 1” from Theme colours, if you need a sub heading)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9705175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tekst 12"/>
          <p:cNvSpPr>
            <a:spLocks noGrp="1"/>
          </p:cNvSpPr>
          <p:nvPr>
            <p:ph type="body" sz="quarter" idx="15" hasCustomPrompt="1"/>
          </p:nvPr>
        </p:nvSpPr>
        <p:spPr>
          <a:xfrm>
            <a:off x="720000" y="1908000"/>
            <a:ext cx="10368000" cy="3708000"/>
          </a:xfrm>
        </p:spPr>
        <p:txBody>
          <a:bodyPr/>
          <a:lstStyle>
            <a:lvl1pPr>
              <a:spcBef>
                <a:spcPts val="600"/>
              </a:spcBef>
              <a:defRPr sz="2000">
                <a:solidFill>
                  <a:schemeClr val="tx1"/>
                </a:solidFill>
              </a:defRPr>
            </a:lvl1pPr>
            <a:lvl2pPr>
              <a:spcBef>
                <a:spcPts val="600"/>
              </a:spcBef>
              <a:defRPr sz="2000"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 sz="2000"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 sz="2000"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Text</a:t>
            </a:r>
          </a:p>
          <a:p>
            <a:pPr lvl="2"/>
            <a:r>
              <a:rPr lang="en-GB" noProof="0" dirty="0"/>
              <a:t>Text</a:t>
            </a:r>
          </a:p>
          <a:p>
            <a:pPr lvl="3"/>
            <a:r>
              <a:rPr lang="en-GB" noProof="0" dirty="0"/>
              <a:t>Text</a:t>
            </a:r>
          </a:p>
        </p:txBody>
      </p:sp>
      <p:sp>
        <p:nvSpPr>
          <p:cNvPr id="17" name="Pladsholder til tekst 2"/>
          <p:cNvSpPr txBox="1">
            <a:spLocks/>
          </p:cNvSpPr>
          <p:nvPr userDrawn="1"/>
        </p:nvSpPr>
        <p:spPr>
          <a:xfrm>
            <a:off x="1337520" y="6444000"/>
            <a:ext cx="288000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65125" indent="-365125" algn="l" defTabSz="914378" rtl="0" eaLnBrk="1" latinLnBrk="0" hangingPunct="1">
              <a:lnSpc>
                <a:spcPct val="100000"/>
              </a:lnSpc>
              <a:spcBef>
                <a:spcPts val="0"/>
              </a:spcBef>
              <a:buClrTx/>
              <a:buSzPct val="100000"/>
              <a:buFont typeface="Arial" panose="020B0604020202020204" pitchFamily="34" charset="0"/>
              <a:buChar char="•"/>
              <a:defRPr lang="nn-NO" sz="24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5963" indent="-350838" algn="l" defTabSz="914378" rtl="0" eaLnBrk="1" latinLnBrk="0" hangingPunct="1">
              <a:lnSpc>
                <a:spcPct val="100000"/>
              </a:lnSpc>
              <a:spcBef>
                <a:spcPts val="0"/>
              </a:spcBef>
              <a:buClrTx/>
              <a:buSzPct val="100000"/>
              <a:buFont typeface="Arial" panose="020B0604020202020204" pitchFamily="34" charset="0"/>
              <a:buChar char="–"/>
              <a:defRPr lang="nn-NO" sz="22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8862" indent="-342900" algn="l" defTabSz="914378" rtl="0" eaLnBrk="1" latinLnBrk="0" hangingPunct="1">
              <a:lnSpc>
                <a:spcPct val="100000"/>
              </a:lnSpc>
              <a:spcBef>
                <a:spcPts val="0"/>
              </a:spcBef>
              <a:buClrTx/>
              <a:buSzPct val="100000"/>
              <a:buFont typeface="Arial" panose="020B0604020202020204" pitchFamily="34" charset="0"/>
              <a:buChar char="–"/>
              <a:defRPr lang="nn-NO" sz="22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1925" indent="-349250" algn="l" defTabSz="914378" rtl="0" eaLnBrk="1" latinLnBrk="0" hangingPunct="1">
              <a:lnSpc>
                <a:spcPct val="100000"/>
              </a:lnSpc>
              <a:spcBef>
                <a:spcPts val="0"/>
              </a:spcBef>
              <a:buClrTx/>
              <a:buSzPct val="100000"/>
              <a:buFont typeface="Arial" panose="020B0604020202020204" pitchFamily="34" charset="0"/>
              <a:buChar char="–"/>
              <a:defRPr lang="nn-NO" sz="22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8638" indent="-366713" algn="l" defTabSz="914378" rtl="0" eaLnBrk="1" latinLnBrk="0" hangingPunct="1">
              <a:lnSpc>
                <a:spcPct val="100000"/>
              </a:lnSpc>
              <a:spcBef>
                <a:spcPts val="0"/>
              </a:spcBef>
              <a:buClrTx/>
              <a:buSzPct val="100000"/>
              <a:buFont typeface="Arial" panose="020B0604020202020204" pitchFamily="34" charset="0"/>
              <a:buChar char="‒"/>
              <a:defRPr lang="nn-NO" sz="2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700" noProof="0" dirty="0">
                <a:solidFill>
                  <a:srgbClr val="FFFFFF"/>
                </a:solidFill>
                <a:latin typeface="Montserrat SemiBold" panose="00000700000000000000" pitchFamily="2" charset="0"/>
              </a:rPr>
              <a:t>PAGE</a:t>
            </a:r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471EAA7-3162-4B69-9563-88D5A3B75B9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Agenda heading</a:t>
            </a:r>
          </a:p>
        </p:txBody>
      </p:sp>
    </p:spTree>
    <p:extLst>
      <p:ext uri="{BB962C8B-B14F-4D97-AF65-F5344CB8AC3E}">
        <p14:creationId xmlns:p14="http://schemas.microsoft.com/office/powerpoint/2010/main" val="1923960843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, 1 col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tekst 12"/>
          <p:cNvSpPr>
            <a:spLocks noGrp="1"/>
          </p:cNvSpPr>
          <p:nvPr>
            <p:ph type="body" sz="quarter" idx="15" hasCustomPrompt="1"/>
          </p:nvPr>
        </p:nvSpPr>
        <p:spPr>
          <a:xfrm>
            <a:off x="720000" y="1908000"/>
            <a:ext cx="10368000" cy="3708000"/>
          </a:xfrm>
        </p:spPr>
        <p:txBody>
          <a:bodyPr/>
          <a:lstStyle>
            <a:lvl1pPr>
              <a:spcBef>
                <a:spcPts val="600"/>
              </a:spcBef>
              <a:defRPr sz="2000">
                <a:solidFill>
                  <a:schemeClr val="tx1"/>
                </a:solidFill>
              </a:defRPr>
            </a:lvl1pPr>
            <a:lvl2pPr>
              <a:spcBef>
                <a:spcPts val="600"/>
              </a:spcBef>
              <a:defRPr sz="2000"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 sz="2000"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 sz="2000"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 dirty="0"/>
              <a:t>Text (remove bullet for plain text – and mark a line with Bold and “Blue, </a:t>
            </a:r>
            <a:r>
              <a:rPr lang="en-GB" noProof="0" dirty="0" err="1"/>
              <a:t>color</a:t>
            </a:r>
            <a:r>
              <a:rPr lang="en-GB" noProof="0" dirty="0"/>
              <a:t> 1” from Theme colours, if you need a sub heading)</a:t>
            </a:r>
          </a:p>
          <a:p>
            <a:pPr lvl="1"/>
            <a:r>
              <a:rPr lang="en-GB" noProof="0" dirty="0"/>
              <a:t>Text</a:t>
            </a:r>
          </a:p>
          <a:p>
            <a:pPr lvl="2"/>
            <a:r>
              <a:rPr lang="en-GB" noProof="0" dirty="0"/>
              <a:t>Text</a:t>
            </a:r>
          </a:p>
          <a:p>
            <a:pPr lvl="3"/>
            <a:r>
              <a:rPr lang="en-GB" noProof="0" dirty="0"/>
              <a:t>Text</a:t>
            </a:r>
          </a:p>
        </p:txBody>
      </p:sp>
      <p:sp>
        <p:nvSpPr>
          <p:cNvPr id="17" name="Pladsholder til tekst 2"/>
          <p:cNvSpPr txBox="1">
            <a:spLocks/>
          </p:cNvSpPr>
          <p:nvPr userDrawn="1"/>
        </p:nvSpPr>
        <p:spPr>
          <a:xfrm>
            <a:off x="1337520" y="6444000"/>
            <a:ext cx="288000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365125" indent="-365125" algn="l" defTabSz="914378" rtl="0" eaLnBrk="1" latinLnBrk="0" hangingPunct="1">
              <a:lnSpc>
                <a:spcPct val="100000"/>
              </a:lnSpc>
              <a:spcBef>
                <a:spcPts val="0"/>
              </a:spcBef>
              <a:buClrTx/>
              <a:buSzPct val="100000"/>
              <a:buFont typeface="Arial" panose="020B0604020202020204" pitchFamily="34" charset="0"/>
              <a:buChar char="•"/>
              <a:defRPr lang="nn-NO" sz="24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15963" indent="-350838" algn="l" defTabSz="914378" rtl="0" eaLnBrk="1" latinLnBrk="0" hangingPunct="1">
              <a:lnSpc>
                <a:spcPct val="100000"/>
              </a:lnSpc>
              <a:spcBef>
                <a:spcPts val="0"/>
              </a:spcBef>
              <a:buClrTx/>
              <a:buSzPct val="100000"/>
              <a:buFont typeface="Arial" panose="020B0604020202020204" pitchFamily="34" charset="0"/>
              <a:buChar char="–"/>
              <a:defRPr lang="nn-NO" sz="22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8862" indent="-342900" algn="l" defTabSz="914378" rtl="0" eaLnBrk="1" latinLnBrk="0" hangingPunct="1">
              <a:lnSpc>
                <a:spcPct val="100000"/>
              </a:lnSpc>
              <a:spcBef>
                <a:spcPts val="0"/>
              </a:spcBef>
              <a:buClrTx/>
              <a:buSzPct val="100000"/>
              <a:buFont typeface="Arial" panose="020B0604020202020204" pitchFamily="34" charset="0"/>
              <a:buChar char="–"/>
              <a:defRPr lang="nn-NO" sz="22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31925" indent="-349250" algn="l" defTabSz="914378" rtl="0" eaLnBrk="1" latinLnBrk="0" hangingPunct="1">
              <a:lnSpc>
                <a:spcPct val="100000"/>
              </a:lnSpc>
              <a:spcBef>
                <a:spcPts val="0"/>
              </a:spcBef>
              <a:buClrTx/>
              <a:buSzPct val="100000"/>
              <a:buFont typeface="Arial" panose="020B0604020202020204" pitchFamily="34" charset="0"/>
              <a:buChar char="–"/>
              <a:defRPr lang="nn-NO" sz="22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8638" indent="-366713" algn="l" defTabSz="914378" rtl="0" eaLnBrk="1" latinLnBrk="0" hangingPunct="1">
              <a:lnSpc>
                <a:spcPct val="100000"/>
              </a:lnSpc>
              <a:spcBef>
                <a:spcPts val="0"/>
              </a:spcBef>
              <a:buClrTx/>
              <a:buSzPct val="100000"/>
              <a:buFont typeface="Arial" panose="020B0604020202020204" pitchFamily="34" charset="0"/>
              <a:buChar char="‒"/>
              <a:defRPr lang="nn-NO" sz="2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700" noProof="0" dirty="0">
                <a:solidFill>
                  <a:srgbClr val="FFFFFF"/>
                </a:solidFill>
                <a:latin typeface="Montserrat SemiBold" panose="00000700000000000000" pitchFamily="2" charset="0"/>
              </a:rPr>
              <a:t>PAGE</a:t>
            </a:r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471EAA7-3162-4B69-9563-88D5A3B75B9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3878861664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, 2 col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6"/>
          <p:cNvSpPr>
            <a:spLocks noGrp="1"/>
          </p:cNvSpPr>
          <p:nvPr>
            <p:ph type="body" sz="quarter" idx="10" hasCustomPrompt="1"/>
          </p:nvPr>
        </p:nvSpPr>
        <p:spPr>
          <a:xfrm>
            <a:off x="720000" y="1908000"/>
            <a:ext cx="4932000" cy="3708000"/>
          </a:xfrm>
        </p:spPr>
        <p:txBody>
          <a:bodyPr/>
          <a:lstStyle>
            <a:lvl1pPr>
              <a:defRPr sz="2000" baseline="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GB" noProof="0" dirty="0"/>
              <a:t>Text (remove bullet for plain text – and mark a line with Bold and “Blue, </a:t>
            </a:r>
            <a:r>
              <a:rPr lang="en-GB" noProof="0" dirty="0" err="1"/>
              <a:t>color</a:t>
            </a:r>
            <a:r>
              <a:rPr lang="en-GB" noProof="0" dirty="0"/>
              <a:t> 1” from Theme colours, if you need a sub heading)</a:t>
            </a:r>
          </a:p>
          <a:p>
            <a:pPr lvl="1"/>
            <a:r>
              <a:rPr lang="en-GB" noProof="0" dirty="0"/>
              <a:t>Text</a:t>
            </a:r>
          </a:p>
          <a:p>
            <a:pPr lvl="2"/>
            <a:r>
              <a:rPr lang="en-GB" noProof="0" dirty="0"/>
              <a:t>Text</a:t>
            </a:r>
          </a:p>
          <a:p>
            <a:pPr lvl="3"/>
            <a:r>
              <a:rPr lang="en-GB" noProof="0" dirty="0"/>
              <a:t>Text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6168008" y="1908000"/>
            <a:ext cx="4932000" cy="370800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GB" noProof="0" dirty="0"/>
              <a:t>Text (remove bullet for plain text – and mark a line with Bold and “Blue, </a:t>
            </a:r>
            <a:r>
              <a:rPr lang="en-GB" noProof="0" dirty="0" err="1"/>
              <a:t>color</a:t>
            </a:r>
            <a:r>
              <a:rPr lang="en-GB" noProof="0" dirty="0"/>
              <a:t> 1” from Theme colours, if you need a sub heading)</a:t>
            </a:r>
          </a:p>
          <a:p>
            <a:pPr lvl="1"/>
            <a:r>
              <a:rPr lang="en-GB" noProof="0" dirty="0"/>
              <a:t>Text</a:t>
            </a:r>
          </a:p>
          <a:p>
            <a:pPr lvl="2"/>
            <a:r>
              <a:rPr lang="en-GB" noProof="0" dirty="0"/>
              <a:t>Text</a:t>
            </a:r>
          </a:p>
          <a:p>
            <a:pPr lvl="3"/>
            <a:r>
              <a:rPr lang="en-GB" noProof="0" dirty="0"/>
              <a:t>Text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ing</a:t>
            </a:r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71EAA7-3162-4B69-9563-88D5A3B75B98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724355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6"/>
          <p:cNvSpPr>
            <a:spLocks noGrp="1"/>
          </p:cNvSpPr>
          <p:nvPr>
            <p:ph type="body" sz="quarter" idx="10" hasCustomPrompt="1"/>
          </p:nvPr>
        </p:nvSpPr>
        <p:spPr>
          <a:xfrm>
            <a:off x="720000" y="1908000"/>
            <a:ext cx="4932000" cy="3708000"/>
          </a:xfrm>
        </p:spPr>
        <p:txBody>
          <a:bodyPr/>
          <a:lstStyle>
            <a:lvl1pPr>
              <a:defRPr sz="2000" baseline="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GB" noProof="0" dirty="0"/>
              <a:t>Text (remove bullet for plain text – and mark a line with Bold and “Blue, </a:t>
            </a:r>
            <a:r>
              <a:rPr lang="en-GB" noProof="0" dirty="0" err="1"/>
              <a:t>color</a:t>
            </a:r>
            <a:r>
              <a:rPr lang="en-GB" noProof="0" dirty="0"/>
              <a:t> 1” from Theme colours, if you need a sub heading)</a:t>
            </a:r>
          </a:p>
          <a:p>
            <a:pPr lvl="1"/>
            <a:r>
              <a:rPr lang="en-GB" noProof="0" dirty="0"/>
              <a:t>Text</a:t>
            </a:r>
          </a:p>
          <a:p>
            <a:pPr lvl="2"/>
            <a:r>
              <a:rPr lang="en-GB" noProof="0" dirty="0"/>
              <a:t>Text</a:t>
            </a:r>
          </a:p>
          <a:p>
            <a:pPr lvl="3"/>
            <a:r>
              <a:rPr lang="en-GB" noProof="0" dirty="0"/>
              <a:t>Text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ing</a:t>
            </a:r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71EAA7-3162-4B69-9563-88D5A3B75B9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Pladsholder til billede 5"/>
          <p:cNvSpPr>
            <a:spLocks noGrp="1"/>
          </p:cNvSpPr>
          <p:nvPr>
            <p:ph type="pic" sz="quarter" idx="13" hasCustomPrompt="1"/>
          </p:nvPr>
        </p:nvSpPr>
        <p:spPr>
          <a:xfrm>
            <a:off x="6167438" y="1908175"/>
            <a:ext cx="4932000" cy="37084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 noProof="0" dirty="0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1031652068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6"/>
          <p:cNvSpPr>
            <a:spLocks noGrp="1"/>
          </p:cNvSpPr>
          <p:nvPr>
            <p:ph type="body" sz="quarter" idx="10" hasCustomPrompt="1"/>
          </p:nvPr>
        </p:nvSpPr>
        <p:spPr>
          <a:xfrm>
            <a:off x="720000" y="1908000"/>
            <a:ext cx="3240000" cy="3708000"/>
          </a:xfrm>
        </p:spPr>
        <p:txBody>
          <a:bodyPr/>
          <a:lstStyle>
            <a:lvl1pPr>
              <a:defRPr sz="2000" baseline="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GB" noProof="0" dirty="0"/>
              <a:t>Text (remove bullet for plain text – and mark a line with Bold and “Blue, </a:t>
            </a:r>
            <a:r>
              <a:rPr lang="en-GB" noProof="0" dirty="0" err="1"/>
              <a:t>color</a:t>
            </a:r>
            <a:r>
              <a:rPr lang="en-GB" noProof="0" dirty="0"/>
              <a:t> 1” from Theme colours, if you need a sub heading)</a:t>
            </a:r>
          </a:p>
          <a:p>
            <a:pPr lvl="1"/>
            <a:r>
              <a:rPr lang="en-GB" noProof="0" dirty="0"/>
              <a:t>Text</a:t>
            </a:r>
          </a:p>
          <a:p>
            <a:pPr lvl="2"/>
            <a:r>
              <a:rPr lang="en-GB" noProof="0" dirty="0"/>
              <a:t>Text</a:t>
            </a:r>
          </a:p>
          <a:p>
            <a:pPr lvl="3"/>
            <a:r>
              <a:rPr lang="en-GB" noProof="0" dirty="0"/>
              <a:t>Text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ing</a:t>
            </a:r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71EAA7-3162-4B69-9563-88D5A3B75B9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Pladsholder til billede 5"/>
          <p:cNvSpPr>
            <a:spLocks noGrp="1"/>
          </p:cNvSpPr>
          <p:nvPr>
            <p:ph type="pic" sz="quarter" idx="13" hasCustomPrompt="1"/>
          </p:nvPr>
        </p:nvSpPr>
        <p:spPr>
          <a:xfrm>
            <a:off x="4293992" y="1908175"/>
            <a:ext cx="3240000" cy="37080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 noProof="0" dirty="0"/>
              <a:t>Picture</a:t>
            </a:r>
          </a:p>
        </p:txBody>
      </p:sp>
      <p:sp>
        <p:nvSpPr>
          <p:cNvPr id="8" name="Pladsholder til billede 5"/>
          <p:cNvSpPr>
            <a:spLocks noGrp="1"/>
          </p:cNvSpPr>
          <p:nvPr>
            <p:ph type="pic" sz="quarter" idx="14" hasCustomPrompt="1"/>
          </p:nvPr>
        </p:nvSpPr>
        <p:spPr>
          <a:xfrm>
            <a:off x="7867984" y="1908175"/>
            <a:ext cx="3240000" cy="37080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 noProof="0" dirty="0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3316853371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3 imag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ing</a:t>
            </a:r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71EAA7-3162-4B69-9563-88D5A3B75B9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Pladsholder til billede 5"/>
          <p:cNvSpPr>
            <a:spLocks noGrp="1"/>
          </p:cNvSpPr>
          <p:nvPr>
            <p:ph type="pic" sz="quarter" idx="13" hasCustomPrompt="1"/>
          </p:nvPr>
        </p:nvSpPr>
        <p:spPr>
          <a:xfrm>
            <a:off x="4293992" y="1865311"/>
            <a:ext cx="3204000" cy="32040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 noProof="0" dirty="0"/>
              <a:t>Picture</a:t>
            </a:r>
          </a:p>
        </p:txBody>
      </p:sp>
      <p:sp>
        <p:nvSpPr>
          <p:cNvPr id="8" name="Pladsholder til billede 5"/>
          <p:cNvSpPr>
            <a:spLocks noGrp="1"/>
          </p:cNvSpPr>
          <p:nvPr>
            <p:ph type="pic" sz="quarter" idx="14" hasCustomPrompt="1"/>
          </p:nvPr>
        </p:nvSpPr>
        <p:spPr>
          <a:xfrm>
            <a:off x="7854737" y="1864800"/>
            <a:ext cx="3204000" cy="32040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 noProof="0" dirty="0"/>
              <a:t>Picture</a:t>
            </a:r>
          </a:p>
        </p:txBody>
      </p:sp>
      <p:sp>
        <p:nvSpPr>
          <p:cNvPr id="9" name="Pladsholder til billede 5"/>
          <p:cNvSpPr>
            <a:spLocks noGrp="1"/>
          </p:cNvSpPr>
          <p:nvPr>
            <p:ph type="pic" sz="quarter" idx="15" hasCustomPrompt="1"/>
          </p:nvPr>
        </p:nvSpPr>
        <p:spPr>
          <a:xfrm>
            <a:off x="720000" y="1865310"/>
            <a:ext cx="3204000" cy="32040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 noProof="0" dirty="0"/>
              <a:t>Picture</a:t>
            </a:r>
          </a:p>
        </p:txBody>
      </p:sp>
      <p:sp>
        <p:nvSpPr>
          <p:cNvPr id="14" name="Pladsholder til tekst 6"/>
          <p:cNvSpPr>
            <a:spLocks noGrp="1"/>
          </p:cNvSpPr>
          <p:nvPr>
            <p:ph type="body" sz="quarter" idx="19" hasCustomPrompt="1"/>
          </p:nvPr>
        </p:nvSpPr>
        <p:spPr>
          <a:xfrm>
            <a:off x="7855200" y="5148000"/>
            <a:ext cx="3204000" cy="198000"/>
          </a:xfrm>
        </p:spPr>
        <p:txBody>
          <a:bodyPr/>
          <a:lstStyle>
            <a:lvl1pPr marL="0" indent="0">
              <a:lnSpc>
                <a:spcPts val="1300"/>
              </a:lnSpc>
              <a:spcBef>
                <a:spcPts val="0"/>
              </a:spcBef>
              <a:buFontTx/>
              <a:buNone/>
              <a:defRPr sz="1200" b="1" baseline="0">
                <a:solidFill>
                  <a:schemeClr val="accent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GB" noProof="0" dirty="0"/>
              <a:t>Heading</a:t>
            </a:r>
          </a:p>
        </p:txBody>
      </p:sp>
      <p:sp>
        <p:nvSpPr>
          <p:cNvPr id="15" name="Pladsholder til tekst 6"/>
          <p:cNvSpPr>
            <a:spLocks noGrp="1"/>
          </p:cNvSpPr>
          <p:nvPr>
            <p:ph type="body" sz="quarter" idx="20" hasCustomPrompt="1"/>
          </p:nvPr>
        </p:nvSpPr>
        <p:spPr>
          <a:xfrm>
            <a:off x="7855200" y="5353200"/>
            <a:ext cx="3204000" cy="684000"/>
          </a:xfrm>
        </p:spPr>
        <p:txBody>
          <a:bodyPr/>
          <a:lstStyle>
            <a:lvl1pPr marL="0" indent="0">
              <a:lnSpc>
                <a:spcPts val="1300"/>
              </a:lnSpc>
              <a:spcBef>
                <a:spcPts val="0"/>
              </a:spcBef>
              <a:buFontTx/>
              <a:buNone/>
              <a:defRPr sz="1200" baseline="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GB" noProof="0" dirty="0"/>
              <a:t>Text </a:t>
            </a:r>
          </a:p>
        </p:txBody>
      </p:sp>
      <p:sp>
        <p:nvSpPr>
          <p:cNvPr id="16" name="Pladsholder til tekst 6"/>
          <p:cNvSpPr>
            <a:spLocks noGrp="1"/>
          </p:cNvSpPr>
          <p:nvPr>
            <p:ph type="body" sz="quarter" idx="21" hasCustomPrompt="1"/>
          </p:nvPr>
        </p:nvSpPr>
        <p:spPr>
          <a:xfrm>
            <a:off x="4293992" y="5148000"/>
            <a:ext cx="3204000" cy="198000"/>
          </a:xfrm>
        </p:spPr>
        <p:txBody>
          <a:bodyPr/>
          <a:lstStyle>
            <a:lvl1pPr marL="0" indent="0">
              <a:lnSpc>
                <a:spcPts val="1300"/>
              </a:lnSpc>
              <a:spcBef>
                <a:spcPts val="0"/>
              </a:spcBef>
              <a:buFontTx/>
              <a:buNone/>
              <a:defRPr sz="1200" b="1" baseline="0">
                <a:solidFill>
                  <a:schemeClr val="accent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GB" noProof="0" dirty="0"/>
              <a:t>Heading</a:t>
            </a:r>
          </a:p>
        </p:txBody>
      </p:sp>
      <p:sp>
        <p:nvSpPr>
          <p:cNvPr id="17" name="Pladsholder til tekst 6"/>
          <p:cNvSpPr>
            <a:spLocks noGrp="1"/>
          </p:cNvSpPr>
          <p:nvPr>
            <p:ph type="body" sz="quarter" idx="22" hasCustomPrompt="1"/>
          </p:nvPr>
        </p:nvSpPr>
        <p:spPr>
          <a:xfrm>
            <a:off x="4294800" y="5353200"/>
            <a:ext cx="3204000" cy="684000"/>
          </a:xfrm>
        </p:spPr>
        <p:txBody>
          <a:bodyPr/>
          <a:lstStyle>
            <a:lvl1pPr marL="0" indent="0">
              <a:lnSpc>
                <a:spcPts val="1300"/>
              </a:lnSpc>
              <a:spcBef>
                <a:spcPts val="0"/>
              </a:spcBef>
              <a:buFontTx/>
              <a:buNone/>
              <a:defRPr sz="1200" baseline="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GB" noProof="0" dirty="0"/>
              <a:t>Text </a:t>
            </a:r>
          </a:p>
        </p:txBody>
      </p:sp>
      <p:sp>
        <p:nvSpPr>
          <p:cNvPr id="18" name="Pladsholder til tekst 6"/>
          <p:cNvSpPr>
            <a:spLocks noGrp="1"/>
          </p:cNvSpPr>
          <p:nvPr>
            <p:ph type="body" sz="quarter" idx="23" hasCustomPrompt="1"/>
          </p:nvPr>
        </p:nvSpPr>
        <p:spPr>
          <a:xfrm>
            <a:off x="720000" y="5148000"/>
            <a:ext cx="3204000" cy="198000"/>
          </a:xfrm>
        </p:spPr>
        <p:txBody>
          <a:bodyPr/>
          <a:lstStyle>
            <a:lvl1pPr marL="0" indent="0">
              <a:lnSpc>
                <a:spcPts val="1300"/>
              </a:lnSpc>
              <a:spcBef>
                <a:spcPts val="0"/>
              </a:spcBef>
              <a:buFontTx/>
              <a:buNone/>
              <a:defRPr sz="1200" b="1" baseline="0">
                <a:solidFill>
                  <a:schemeClr val="accent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GB" noProof="0" dirty="0"/>
              <a:t>Heading</a:t>
            </a:r>
          </a:p>
        </p:txBody>
      </p:sp>
      <p:sp>
        <p:nvSpPr>
          <p:cNvPr id="19" name="Pladsholder til tekst 6"/>
          <p:cNvSpPr>
            <a:spLocks noGrp="1"/>
          </p:cNvSpPr>
          <p:nvPr>
            <p:ph type="body" sz="quarter" idx="24" hasCustomPrompt="1"/>
          </p:nvPr>
        </p:nvSpPr>
        <p:spPr>
          <a:xfrm>
            <a:off x="720000" y="5354675"/>
            <a:ext cx="3204000" cy="684000"/>
          </a:xfrm>
        </p:spPr>
        <p:txBody>
          <a:bodyPr/>
          <a:lstStyle>
            <a:lvl1pPr marL="0" indent="0">
              <a:lnSpc>
                <a:spcPts val="1300"/>
              </a:lnSpc>
              <a:spcBef>
                <a:spcPts val="0"/>
              </a:spcBef>
              <a:buFontTx/>
              <a:buNone/>
              <a:defRPr sz="1200" baseline="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GB" noProof="0" dirty="0"/>
              <a:t>Text </a:t>
            </a:r>
          </a:p>
        </p:txBody>
      </p:sp>
    </p:spTree>
    <p:extLst>
      <p:ext uri="{BB962C8B-B14F-4D97-AF65-F5344CB8AC3E}">
        <p14:creationId xmlns:p14="http://schemas.microsoft.com/office/powerpoint/2010/main" val="3411013658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ing</a:t>
            </a:r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71EAA7-3162-4B69-9563-88D5A3B75B9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Pladsholder til diagram 2"/>
          <p:cNvSpPr>
            <a:spLocks noGrp="1"/>
          </p:cNvSpPr>
          <p:nvPr>
            <p:ph type="chart" sz="quarter" idx="13" hasCustomPrompt="1"/>
          </p:nvPr>
        </p:nvSpPr>
        <p:spPr>
          <a:xfrm>
            <a:off x="720000" y="1908000"/>
            <a:ext cx="8424000" cy="37084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r>
              <a:rPr lang="en-GB" noProof="0" dirty="0"/>
              <a:t>Chart – see guidelines to the left</a:t>
            </a:r>
          </a:p>
        </p:txBody>
      </p:sp>
      <p:sp>
        <p:nvSpPr>
          <p:cNvPr id="9" name="Tekstfelt 8"/>
          <p:cNvSpPr txBox="1"/>
          <p:nvPr userDrawn="1"/>
        </p:nvSpPr>
        <p:spPr>
          <a:xfrm>
            <a:off x="-3409056" y="6801"/>
            <a:ext cx="3265040" cy="6560245"/>
          </a:xfrm>
          <a:prstGeom prst="rect">
            <a:avLst/>
          </a:prstGeom>
          <a:solidFill>
            <a:srgbClr val="FFFFFF"/>
          </a:solidFill>
        </p:spPr>
        <p:txBody>
          <a:bodyPr wrap="square" lIns="48000" tIns="48000" rIns="48000" bIns="48000" rtlCol="0">
            <a:spAutoFit/>
          </a:bodyPr>
          <a:lstStyle/>
          <a:p>
            <a:r>
              <a:rPr lang="en-GB" sz="1200" dirty="0"/>
              <a:t>CHARTS</a:t>
            </a:r>
          </a:p>
          <a:p>
            <a:r>
              <a:rPr lang="en-GB" sz="1200" dirty="0"/>
              <a:t>Please follow these guidelines in order to insert</a:t>
            </a:r>
            <a:r>
              <a:rPr lang="en-GB" sz="1200" baseline="0" dirty="0"/>
              <a:t> and format charts:</a:t>
            </a:r>
            <a:endParaRPr lang="en-GB" sz="1200" dirty="0"/>
          </a:p>
          <a:p>
            <a:endParaRPr lang="en-GB" sz="1200" dirty="0"/>
          </a:p>
          <a:p>
            <a:pPr marL="304792" marR="0" indent="-304792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GB" sz="1200" dirty="0"/>
              <a:t>Insert chart</a:t>
            </a:r>
            <a:r>
              <a:rPr lang="en-GB" sz="1200" baseline="0" dirty="0"/>
              <a:t> - copy/paste from Excel, or create directly in PowerPoint. The chart can be on of the 3 following charts:</a:t>
            </a:r>
            <a:br>
              <a:rPr lang="en-GB" sz="1200" baseline="0" dirty="0"/>
            </a:br>
            <a:r>
              <a:rPr lang="en-GB" sz="1200" baseline="0" dirty="0"/>
              <a:t> 1) Donut</a:t>
            </a:r>
            <a:br>
              <a:rPr lang="en-GB" sz="1200" baseline="0" dirty="0"/>
            </a:br>
            <a:r>
              <a:rPr lang="en-GB" sz="1200" baseline="0" dirty="0"/>
              <a:t> 2) Stacked bar</a:t>
            </a:r>
            <a:br>
              <a:rPr lang="en-GB" sz="1200" baseline="0" dirty="0"/>
            </a:br>
            <a:r>
              <a:rPr lang="en-GB" sz="1200" baseline="0" dirty="0"/>
              <a:t> 3) Line</a:t>
            </a:r>
            <a:endParaRPr lang="en-GB" sz="1200" dirty="0"/>
          </a:p>
          <a:p>
            <a:pPr marL="304792" indent="-304792">
              <a:buFont typeface="+mj-lt"/>
              <a:buAutoNum type="arabicPeriod"/>
            </a:pPr>
            <a:r>
              <a:rPr lang="en-GB" sz="1200" dirty="0"/>
              <a:t>Right click the chart</a:t>
            </a:r>
            <a:r>
              <a:rPr lang="en-GB" sz="1200" baseline="0" dirty="0"/>
              <a:t> and select “Change chart type”</a:t>
            </a:r>
          </a:p>
          <a:p>
            <a:pPr marL="304792" indent="-304792">
              <a:buFont typeface="+mj-lt"/>
              <a:buAutoNum type="arabicPeriod"/>
            </a:pPr>
            <a:r>
              <a:rPr lang="en-GB" sz="1200" dirty="0"/>
              <a:t>In the “Change chart type” dialog,</a:t>
            </a:r>
            <a:r>
              <a:rPr lang="en-GB" sz="1200" baseline="0" dirty="0"/>
              <a:t> select the yellow folder icon “Templates”</a:t>
            </a:r>
          </a:p>
          <a:p>
            <a:pPr marL="304792" indent="-304792">
              <a:buFont typeface="+mj-lt"/>
              <a:buAutoNum type="arabicPeriod"/>
            </a:pPr>
            <a:r>
              <a:rPr lang="en-GB" sz="1200" baseline="0" dirty="0"/>
              <a:t>Click the MIR chart template, which corresponds to the chart, you have inserted.</a:t>
            </a:r>
          </a:p>
          <a:p>
            <a:pPr marL="304792" indent="-304792">
              <a:buFont typeface="+mj-lt"/>
              <a:buAutoNum type="arabicPeriod"/>
            </a:pPr>
            <a:endParaRPr lang="en-GB" sz="1200" baseline="0" dirty="0"/>
          </a:p>
          <a:p>
            <a:pPr marL="304792" indent="-304792">
              <a:buFont typeface="+mj-lt"/>
              <a:buAutoNum type="arabicPeriod"/>
            </a:pPr>
            <a:endParaRPr lang="en-GB" sz="1200" baseline="0" dirty="0"/>
          </a:p>
          <a:p>
            <a:pPr marL="304792" indent="-304792">
              <a:buFont typeface="+mj-lt"/>
              <a:buAutoNum type="arabicPeriod"/>
            </a:pPr>
            <a:endParaRPr lang="en-GB" sz="1200" baseline="0" dirty="0"/>
          </a:p>
          <a:p>
            <a:pPr marL="304792" indent="-304792">
              <a:buFont typeface="+mj-lt"/>
              <a:buAutoNum type="arabicPeriod"/>
            </a:pPr>
            <a:endParaRPr lang="en-GB" sz="1200" baseline="0" dirty="0"/>
          </a:p>
          <a:p>
            <a:pPr marL="304792" indent="-304792">
              <a:buFont typeface="+mj-lt"/>
              <a:buAutoNum type="arabicPeriod"/>
            </a:pPr>
            <a:endParaRPr lang="en-GB" sz="1200" baseline="0" dirty="0"/>
          </a:p>
          <a:p>
            <a:pPr marL="304792" indent="-304792">
              <a:buFont typeface="+mj-lt"/>
              <a:buAutoNum type="arabicPeriod"/>
            </a:pPr>
            <a:endParaRPr lang="en-GB" sz="1200" baseline="0" dirty="0"/>
          </a:p>
          <a:p>
            <a:pPr marL="304792" indent="-304792">
              <a:buFont typeface="+mj-lt"/>
              <a:buAutoNum type="arabicPeriod"/>
            </a:pPr>
            <a:endParaRPr lang="en-GB" sz="1200" baseline="0" dirty="0"/>
          </a:p>
          <a:p>
            <a:pPr marL="304792" indent="-304792">
              <a:buFont typeface="+mj-lt"/>
              <a:buAutoNum type="arabicPeriod"/>
            </a:pPr>
            <a:endParaRPr lang="en-GB" sz="1200" baseline="0" dirty="0"/>
          </a:p>
          <a:p>
            <a:pPr marL="304792" indent="-304792">
              <a:buFont typeface="+mj-lt"/>
              <a:buAutoNum type="arabicPeriod"/>
            </a:pPr>
            <a:endParaRPr lang="en-GB" sz="1200" baseline="0" dirty="0"/>
          </a:p>
          <a:p>
            <a:pPr marL="304792" indent="-304792">
              <a:buFont typeface="+mj-lt"/>
              <a:buAutoNum type="arabicPeriod"/>
            </a:pPr>
            <a:endParaRPr lang="en-GB" sz="1200" baseline="0" dirty="0"/>
          </a:p>
          <a:p>
            <a:pPr marL="304792" indent="-304792">
              <a:buFont typeface="+mj-lt"/>
              <a:buAutoNum type="arabicPeriod"/>
            </a:pPr>
            <a:endParaRPr lang="en-GB" sz="1200" baseline="0" dirty="0"/>
          </a:p>
          <a:p>
            <a:pPr marL="304792" indent="-304792">
              <a:buFont typeface="+mj-lt"/>
              <a:buAutoNum type="arabicPeriod"/>
            </a:pPr>
            <a:endParaRPr lang="en-GB" sz="1200" baseline="0" dirty="0"/>
          </a:p>
          <a:p>
            <a:pPr marL="304792" indent="-304792">
              <a:buFont typeface="+mj-lt"/>
              <a:buAutoNum type="arabicPeriod"/>
            </a:pPr>
            <a:endParaRPr lang="en-GB" sz="1200" baseline="0" dirty="0"/>
          </a:p>
          <a:p>
            <a:pPr marL="304792" indent="-304792">
              <a:buFont typeface="+mj-lt"/>
              <a:buAutoNum type="arabicPeriod"/>
            </a:pPr>
            <a:r>
              <a:rPr lang="en-GB" sz="1200" baseline="0" dirty="0"/>
              <a:t>Your chart will now change to match the selected chart template, and you can do the final modifications (chart title, axe titles etc.), if necessary.</a:t>
            </a:r>
          </a:p>
          <a:p>
            <a:endParaRPr lang="en-GB" sz="1200" dirty="0"/>
          </a:p>
        </p:txBody>
      </p:sp>
      <p:pic>
        <p:nvPicPr>
          <p:cNvPr id="2" name="Billede 1"/>
          <p:cNvPicPr>
            <a:picLocks noChangeAspect="1"/>
          </p:cNvPicPr>
          <p:nvPr userDrawn="1"/>
        </p:nvPicPr>
        <p:blipFill rotWithShape="1">
          <a:blip r:embed="rId2"/>
          <a:srcRect l="30550" t="14753" r="5182" b="19615"/>
          <a:stretch/>
        </p:blipFill>
        <p:spPr>
          <a:xfrm>
            <a:off x="-3346013" y="3068960"/>
            <a:ext cx="3138953" cy="2230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4104884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18" Type="http://schemas.openxmlformats.org/officeDocument/2006/relationships/image" Target="../media/image1.jpeg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1.xml"/><Relationship Id="rId16" Type="http://schemas.openxmlformats.org/officeDocument/2006/relationships/slideLayout" Target="../slideLayouts/slideLayout25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19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lede 4"/>
          <p:cNvPicPr>
            <a:picLocks noChangeAspect="1"/>
          </p:cNvPicPr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023"/>
          <a:stretch/>
        </p:blipFill>
        <p:spPr>
          <a:xfrm>
            <a:off x="0" y="1"/>
            <a:ext cx="12189600" cy="6864745"/>
          </a:xfrm>
          <a:prstGeom prst="rect">
            <a:avLst/>
          </a:prstGeom>
        </p:spPr>
      </p:pic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720000" y="828000"/>
            <a:ext cx="8424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/>
              <a:t>Heading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720000" y="1908000"/>
            <a:ext cx="10368000" cy="370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noProof="0" dirty="0"/>
              <a:t>Text</a:t>
            </a:r>
          </a:p>
          <a:p>
            <a:pPr lvl="1"/>
            <a:r>
              <a:rPr lang="en-GB" noProof="0" dirty="0"/>
              <a:t>Text</a:t>
            </a:r>
          </a:p>
          <a:p>
            <a:pPr lvl="2"/>
            <a:r>
              <a:rPr lang="en-GB" noProof="0" dirty="0"/>
              <a:t>Text</a:t>
            </a:r>
          </a:p>
          <a:p>
            <a:pPr lvl="3"/>
            <a:r>
              <a:rPr lang="en-GB" noProof="0" dirty="0"/>
              <a:t>Text</a:t>
            </a:r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4"/>
          </p:nvPr>
        </p:nvSpPr>
        <p:spPr>
          <a:xfrm>
            <a:off x="11700129" y="6534000"/>
            <a:ext cx="252000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fld id="{8471EAA7-3162-4B69-9563-88D5A3B75B98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12550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718" r:id="rId2"/>
    <p:sldLayoutId id="2147483723" r:id="rId3"/>
    <p:sldLayoutId id="2147483717" r:id="rId4"/>
    <p:sldLayoutId id="2147483693" r:id="rId5"/>
    <p:sldLayoutId id="2147483719" r:id="rId6"/>
    <p:sldLayoutId id="2147483722" r:id="rId7"/>
    <p:sldLayoutId id="2147483721" r:id="rId8"/>
    <p:sldLayoutId id="2147483720" r:id="rId9"/>
  </p:sldLayoutIdLst>
  <p:transition>
    <p:fade/>
  </p:transition>
  <p:hf hdr="0"/>
  <p:txStyles>
    <p:titleStyle>
      <a:lvl1pPr algn="l" defTabSz="914378" rtl="0" eaLnBrk="1" latinLnBrk="0" hangingPunct="1">
        <a:lnSpc>
          <a:spcPts val="4300"/>
        </a:lnSpc>
        <a:spcBef>
          <a:spcPct val="0"/>
        </a:spcBef>
        <a:buNone/>
        <a:defRPr lang="nn-NO" sz="4000" b="0" i="0" kern="1200" cap="none" spc="0" baseline="0" noProof="0" dirty="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16000" indent="-216000" algn="l" defTabSz="914378" rtl="0" eaLnBrk="1" latinLnBrk="0" hangingPunct="1">
        <a:lnSpc>
          <a:spcPct val="100000"/>
        </a:lnSpc>
        <a:spcBef>
          <a:spcPts val="1200"/>
        </a:spcBef>
        <a:buClrTx/>
        <a:buSzPct val="75000"/>
        <a:buFontTx/>
        <a:buBlip>
          <a:blip r:embed="rId12"/>
        </a:buBlip>
        <a:defRPr lang="nn-NO" sz="180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52438" indent="-215900" algn="l" defTabSz="914378" rtl="0" eaLnBrk="1" latinLnBrk="0" hangingPunct="1">
        <a:lnSpc>
          <a:spcPct val="100000"/>
        </a:lnSpc>
        <a:spcBef>
          <a:spcPts val="1200"/>
        </a:spcBef>
        <a:buClrTx/>
        <a:buSzPct val="75000"/>
        <a:buFontTx/>
        <a:buBlip>
          <a:blip r:embed="rId13"/>
        </a:buBlip>
        <a:defRPr lang="nn-NO" sz="18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09613" indent="-225425" algn="l" defTabSz="914378" rtl="0" eaLnBrk="1" latinLnBrk="0" hangingPunct="1">
        <a:lnSpc>
          <a:spcPct val="100000"/>
        </a:lnSpc>
        <a:spcBef>
          <a:spcPts val="1200"/>
        </a:spcBef>
        <a:buClrTx/>
        <a:buSzPct val="75000"/>
        <a:buFontTx/>
        <a:buBlip>
          <a:blip r:embed="rId13"/>
        </a:buBlip>
        <a:defRPr lang="nn-NO" sz="18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022350" indent="-236538" algn="l" defTabSz="914378" rtl="0" eaLnBrk="1" latinLnBrk="0" hangingPunct="1">
        <a:lnSpc>
          <a:spcPct val="100000"/>
        </a:lnSpc>
        <a:spcBef>
          <a:spcPts val="1200"/>
        </a:spcBef>
        <a:buClrTx/>
        <a:buSzPct val="75000"/>
        <a:buFontTx/>
        <a:buBlip>
          <a:blip r:embed="rId13"/>
        </a:buBlip>
        <a:defRPr lang="nn-NO" sz="18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864000" indent="0" algn="l" defTabSz="914378" rtl="0" eaLnBrk="1" latinLnBrk="0" hangingPunct="1">
        <a:lnSpc>
          <a:spcPct val="100000"/>
        </a:lnSpc>
        <a:spcBef>
          <a:spcPts val="1200"/>
        </a:spcBef>
        <a:buClrTx/>
        <a:buSzPct val="100000"/>
        <a:buFont typeface="Arial" panose="020B0604020202020204" pitchFamily="34" charset="0"/>
        <a:buNone/>
        <a:defRPr lang="nn-NO" sz="1800" kern="1200" noProof="0" dirty="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lede 4"/>
          <p:cNvPicPr>
            <a:picLocks noChangeAspect="1"/>
          </p:cNvPicPr>
          <p:nvPr userDrawn="1"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023"/>
          <a:stretch/>
        </p:blipFill>
        <p:spPr>
          <a:xfrm>
            <a:off x="0" y="1"/>
            <a:ext cx="12189600" cy="6864745"/>
          </a:xfrm>
          <a:prstGeom prst="rect">
            <a:avLst/>
          </a:prstGeom>
        </p:spPr>
      </p:pic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720000" y="828000"/>
            <a:ext cx="8424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/>
              <a:t>Heading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720000" y="1908000"/>
            <a:ext cx="10368000" cy="370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noProof="0"/>
              <a:t>Text</a:t>
            </a:r>
          </a:p>
          <a:p>
            <a:pPr lvl="1"/>
            <a:r>
              <a:rPr lang="en-GB" noProof="0"/>
              <a:t>Text</a:t>
            </a:r>
          </a:p>
          <a:p>
            <a:pPr lvl="2"/>
            <a:r>
              <a:rPr lang="en-GB" noProof="0"/>
              <a:t>Text</a:t>
            </a:r>
          </a:p>
          <a:p>
            <a:pPr lvl="3"/>
            <a:r>
              <a:rPr lang="en-GB" noProof="0"/>
              <a:t>Text</a:t>
            </a:r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4"/>
          </p:nvPr>
        </p:nvSpPr>
        <p:spPr>
          <a:xfrm>
            <a:off x="11700129" y="6534000"/>
            <a:ext cx="252000" cy="18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fld id="{8471EAA7-3162-4B69-9563-88D5A3B75B9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83472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  <p:sldLayoutId id="2147483733" r:id="rId9"/>
    <p:sldLayoutId id="2147483734" r:id="rId10"/>
    <p:sldLayoutId id="2147483735" r:id="rId11"/>
    <p:sldLayoutId id="2147483736" r:id="rId12"/>
    <p:sldLayoutId id="2147483737" r:id="rId13"/>
    <p:sldLayoutId id="2147483738" r:id="rId14"/>
    <p:sldLayoutId id="2147483739" r:id="rId15"/>
    <p:sldLayoutId id="2147483740" r:id="rId16"/>
  </p:sldLayoutIdLst>
  <p:hf hdr="0"/>
  <p:txStyles>
    <p:titleStyle>
      <a:lvl1pPr algn="l" defTabSz="914378" rtl="0" eaLnBrk="1" latinLnBrk="0" hangingPunct="1">
        <a:lnSpc>
          <a:spcPts val="4300"/>
        </a:lnSpc>
        <a:spcBef>
          <a:spcPct val="0"/>
        </a:spcBef>
        <a:buNone/>
        <a:defRPr lang="nn-NO" sz="4000" b="0" i="0" kern="1200" cap="none" spc="0" baseline="0" noProof="0" dirty="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16000" indent="-216000" algn="l" defTabSz="914378" rtl="0" eaLnBrk="1" latinLnBrk="0" hangingPunct="1">
        <a:lnSpc>
          <a:spcPct val="100000"/>
        </a:lnSpc>
        <a:spcBef>
          <a:spcPts val="1200"/>
        </a:spcBef>
        <a:buClrTx/>
        <a:buSzPct val="75000"/>
        <a:buFontTx/>
        <a:buBlip>
          <a:blip r:embed="rId19"/>
        </a:buBlip>
        <a:defRPr lang="nn-NO" sz="1800" kern="1200" baseline="0" noProof="0" dirty="0" smtClean="0">
          <a:solidFill>
            <a:schemeClr val="accent2"/>
          </a:solidFill>
          <a:latin typeface="+mn-lt"/>
          <a:ea typeface="+mn-ea"/>
          <a:cs typeface="+mn-cs"/>
        </a:defRPr>
      </a:lvl1pPr>
      <a:lvl2pPr marL="452438" indent="-215900" algn="l" defTabSz="914378" rtl="0" eaLnBrk="1" latinLnBrk="0" hangingPunct="1">
        <a:lnSpc>
          <a:spcPct val="100000"/>
        </a:lnSpc>
        <a:spcBef>
          <a:spcPts val="1200"/>
        </a:spcBef>
        <a:buClrTx/>
        <a:buSzPct val="75000"/>
        <a:buFontTx/>
        <a:buBlip>
          <a:blip r:embed="rId20"/>
        </a:buBlip>
        <a:defRPr lang="nn-NO" sz="1800" kern="1200" noProof="0" dirty="0" smtClean="0">
          <a:solidFill>
            <a:schemeClr val="accent2"/>
          </a:solidFill>
          <a:latin typeface="+mn-lt"/>
          <a:ea typeface="+mn-ea"/>
          <a:cs typeface="+mn-cs"/>
        </a:defRPr>
      </a:lvl2pPr>
      <a:lvl3pPr marL="709613" indent="-225425" algn="l" defTabSz="914378" rtl="0" eaLnBrk="1" latinLnBrk="0" hangingPunct="1">
        <a:lnSpc>
          <a:spcPct val="100000"/>
        </a:lnSpc>
        <a:spcBef>
          <a:spcPts val="1200"/>
        </a:spcBef>
        <a:buClrTx/>
        <a:buSzPct val="75000"/>
        <a:buFontTx/>
        <a:buBlip>
          <a:blip r:embed="rId20"/>
        </a:buBlip>
        <a:defRPr lang="nn-NO" sz="1800" kern="1200" noProof="0" dirty="0" smtClean="0">
          <a:solidFill>
            <a:schemeClr val="accent2"/>
          </a:solidFill>
          <a:latin typeface="+mn-lt"/>
          <a:ea typeface="+mn-ea"/>
          <a:cs typeface="+mn-cs"/>
        </a:defRPr>
      </a:lvl3pPr>
      <a:lvl4pPr marL="1022350" indent="-236538" algn="l" defTabSz="914378" rtl="0" eaLnBrk="1" latinLnBrk="0" hangingPunct="1">
        <a:lnSpc>
          <a:spcPct val="100000"/>
        </a:lnSpc>
        <a:spcBef>
          <a:spcPts val="1200"/>
        </a:spcBef>
        <a:buClrTx/>
        <a:buSzPct val="75000"/>
        <a:buFontTx/>
        <a:buBlip>
          <a:blip r:embed="rId20"/>
        </a:buBlip>
        <a:defRPr lang="nn-NO" sz="1800" kern="1200" noProof="0" dirty="0" smtClean="0">
          <a:solidFill>
            <a:schemeClr val="accent2"/>
          </a:solidFill>
          <a:latin typeface="+mn-lt"/>
          <a:ea typeface="+mn-ea"/>
          <a:cs typeface="+mn-cs"/>
        </a:defRPr>
      </a:lvl4pPr>
      <a:lvl5pPr marL="864000" indent="0" algn="l" defTabSz="914378" rtl="0" eaLnBrk="1" latinLnBrk="0" hangingPunct="1">
        <a:lnSpc>
          <a:spcPct val="100000"/>
        </a:lnSpc>
        <a:spcBef>
          <a:spcPts val="1200"/>
        </a:spcBef>
        <a:buClrTx/>
        <a:buSzPct val="100000"/>
        <a:buFont typeface="Arial" panose="020B0604020202020204" pitchFamily="34" charset="0"/>
        <a:buNone/>
        <a:defRPr lang="nn-NO" sz="1800" kern="1200" noProof="0" dirty="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13" Type="http://schemas.openxmlformats.org/officeDocument/2006/relationships/image" Target="../media/image43.png"/><Relationship Id="rId18" Type="http://schemas.openxmlformats.org/officeDocument/2006/relationships/image" Target="../media/image48.svg"/><Relationship Id="rId3" Type="http://schemas.openxmlformats.org/officeDocument/2006/relationships/image" Target="../media/image33.jpeg"/><Relationship Id="rId7" Type="http://schemas.openxmlformats.org/officeDocument/2006/relationships/image" Target="../media/image37.jpeg"/><Relationship Id="rId12" Type="http://schemas.openxmlformats.org/officeDocument/2006/relationships/image" Target="../media/image42.svg"/><Relationship Id="rId17" Type="http://schemas.openxmlformats.org/officeDocument/2006/relationships/image" Target="../media/image47.pn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46.svg"/><Relationship Id="rId20" Type="http://schemas.openxmlformats.org/officeDocument/2006/relationships/image" Target="../media/image50.sv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6.jpeg"/><Relationship Id="rId11" Type="http://schemas.openxmlformats.org/officeDocument/2006/relationships/image" Target="../media/image41.png"/><Relationship Id="rId5" Type="http://schemas.openxmlformats.org/officeDocument/2006/relationships/image" Target="../media/image35.jpeg"/><Relationship Id="rId15" Type="http://schemas.openxmlformats.org/officeDocument/2006/relationships/image" Target="../media/image45.png"/><Relationship Id="rId10" Type="http://schemas.openxmlformats.org/officeDocument/2006/relationships/image" Target="../media/image40.svg"/><Relationship Id="rId19" Type="http://schemas.openxmlformats.org/officeDocument/2006/relationships/image" Target="../media/image49.png"/><Relationship Id="rId4" Type="http://schemas.openxmlformats.org/officeDocument/2006/relationships/image" Target="../media/image34.jpeg"/><Relationship Id="rId9" Type="http://schemas.openxmlformats.org/officeDocument/2006/relationships/image" Target="../media/image39.png"/><Relationship Id="rId14" Type="http://schemas.openxmlformats.org/officeDocument/2006/relationships/image" Target="../media/image44.sv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3.png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8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.xml"/><Relationship Id="rId6" Type="http://schemas.openxmlformats.org/officeDocument/2006/relationships/image" Target="../media/image17.jpeg"/><Relationship Id="rId5" Type="http://schemas.openxmlformats.org/officeDocument/2006/relationships/image" Target="../media/image16.emf"/><Relationship Id="rId10" Type="http://schemas.openxmlformats.org/officeDocument/2006/relationships/image" Target="../media/image3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.xml"/><Relationship Id="rId6" Type="http://schemas.openxmlformats.org/officeDocument/2006/relationships/image" Target="../media/image20.png"/><Relationship Id="rId5" Type="http://schemas.openxmlformats.org/officeDocument/2006/relationships/chart" Target="../charts/chart1.xml"/><Relationship Id="rId4" Type="http://schemas.openxmlformats.org/officeDocument/2006/relationships/image" Target="../media/image16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4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23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6.png"/><Relationship Id="rId7" Type="http://schemas.openxmlformats.org/officeDocument/2006/relationships/image" Target="../media/image30.jpe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Relationship Id="rId9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720000" y="2060848"/>
            <a:ext cx="10560576" cy="2439824"/>
          </a:xfrm>
        </p:spPr>
        <p:txBody>
          <a:bodyPr anchor="t" anchorCtr="0"/>
          <a:lstStyle/>
          <a:p>
            <a:pPr>
              <a:lnSpc>
                <a:spcPct val="90000"/>
              </a:lnSpc>
            </a:pPr>
            <a:r>
              <a:rPr lang="en-US" sz="5400" b="1" dirty="0"/>
              <a:t>MiR collaborative mobile robots </a:t>
            </a:r>
            <a:br>
              <a:rPr lang="en-US" sz="5400" b="1" dirty="0"/>
            </a:br>
            <a:r>
              <a:rPr lang="en-US" sz="4500" b="1" dirty="0"/>
              <a:t>– boosting </a:t>
            </a:r>
            <a:r>
              <a:rPr lang="en-US" sz="4500" b="1" dirty="0" err="1"/>
              <a:t>Safetey</a:t>
            </a:r>
            <a:r>
              <a:rPr lang="en-US" sz="4500" b="1" dirty="0"/>
              <a:t>, efficiency and agility</a:t>
            </a:r>
            <a:endParaRPr lang="da-DK" sz="4500" b="1" dirty="0"/>
          </a:p>
        </p:txBody>
      </p:sp>
      <p:sp>
        <p:nvSpPr>
          <p:cNvPr id="4" name="Pladsholder til dato 4">
            <a:extLst>
              <a:ext uri="{FF2B5EF4-FFF2-40B4-BE49-F238E27FC236}">
                <a16:creationId xmlns:a16="http://schemas.microsoft.com/office/drawing/2014/main" id="{EA8EC721-4E70-5F4A-8F9F-05F2F9510150}"/>
              </a:ext>
            </a:extLst>
          </p:cNvPr>
          <p:cNvSpPr txBox="1">
            <a:spLocks/>
          </p:cNvSpPr>
          <p:nvPr/>
        </p:nvSpPr>
        <p:spPr>
          <a:xfrm>
            <a:off x="695400" y="246236"/>
            <a:ext cx="4288018" cy="360040"/>
          </a:xfrm>
          <a:prstGeom prst="rect">
            <a:avLst/>
          </a:prstGeom>
        </p:spPr>
        <p:txBody>
          <a:bodyPr/>
          <a:lstStyle>
            <a:defPPr>
              <a:defRPr lang="da-DK"/>
            </a:defPPr>
            <a:lvl1pPr marL="0" algn="l" defTabSz="1219170" rtl="0" eaLnBrk="1" latinLnBrk="0" hangingPunct="1">
              <a:defRPr sz="2000" b="1" kern="1200" cap="none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A better way</a:t>
            </a:r>
          </a:p>
        </p:txBody>
      </p:sp>
    </p:spTree>
    <p:extLst>
      <p:ext uri="{BB962C8B-B14F-4D97-AF65-F5344CB8AC3E}">
        <p14:creationId xmlns:p14="http://schemas.microsoft.com/office/powerpoint/2010/main" val="3395132253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B03BD21-A31D-4D1F-8AB7-13B676D6F0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71EAA7-3162-4B69-9563-88D5A3B75B98}" type="slidenum">
              <a:rPr lang="en-GB" smtClean="0"/>
              <a:pPr/>
              <a:t>10</a:t>
            </a:fld>
            <a:endParaRPr lang="en-GB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96D7D5E8-A231-401C-87D6-1992BBAC1F1F}"/>
              </a:ext>
            </a:extLst>
          </p:cNvPr>
          <p:cNvSpPr txBox="1">
            <a:spLocks/>
          </p:cNvSpPr>
          <p:nvPr/>
        </p:nvSpPr>
        <p:spPr>
          <a:xfrm>
            <a:off x="720000" y="827999"/>
            <a:ext cx="5455377" cy="18548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378" rtl="0" eaLnBrk="1" latinLnBrk="0" hangingPunct="1">
              <a:lnSpc>
                <a:spcPts val="4300"/>
              </a:lnSpc>
              <a:spcBef>
                <a:spcPct val="0"/>
              </a:spcBef>
              <a:buNone/>
              <a:defRPr lang="nn-NO" sz="4000" b="0" i="0" kern="1200" cap="none" spc="0" baseline="0" noProof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1200"/>
              </a:spcBef>
              <a:buSzPct val="75000"/>
            </a:pPr>
            <a:r>
              <a:rPr lang="en-US" b="1">
                <a:solidFill>
                  <a:srgbClr val="11367C"/>
                </a:solidFill>
                <a:latin typeface="Oscine" panose="020B0506040202020204" pitchFamily="34" charset="0"/>
                <a:cs typeface="Oscine" panose="020B0506040202020204" pitchFamily="34" charset="0"/>
              </a:rPr>
              <a:t>A Solution For All Industries</a:t>
            </a:r>
            <a:br>
              <a:rPr lang="en-US">
                <a:solidFill>
                  <a:srgbClr val="11367C"/>
                </a:solidFill>
                <a:latin typeface="Oscine" panose="020B0506040202020204" pitchFamily="34" charset="0"/>
                <a:cs typeface="Oscine" panose="020B0506040202020204" pitchFamily="34" charset="0"/>
              </a:rPr>
            </a:br>
            <a:r>
              <a:rPr lang="en-US" sz="2000">
                <a:solidFill>
                  <a:schemeClr val="accent1"/>
                </a:solidFill>
                <a:latin typeface="Oscine" panose="020B0506040202020204" pitchFamily="34" charset="0"/>
                <a:ea typeface="+mn-ea"/>
                <a:cs typeface="Oscine" panose="020B0506040202020204" pitchFamily="34" charset="0"/>
              </a:rPr>
              <a:t>Everywhere, where internal transportations take place, </a:t>
            </a:r>
            <a:r>
              <a:rPr lang="en-US" sz="2000" err="1">
                <a:solidFill>
                  <a:schemeClr val="accent1"/>
                </a:solidFill>
                <a:latin typeface="Oscine" panose="020B0506040202020204" pitchFamily="34" charset="0"/>
                <a:ea typeface="+mn-ea"/>
                <a:cs typeface="Oscine" panose="020B0506040202020204" pitchFamily="34" charset="0"/>
              </a:rPr>
              <a:t>MiR</a:t>
            </a:r>
            <a:r>
              <a:rPr lang="en-US" sz="2000">
                <a:solidFill>
                  <a:schemeClr val="accent1"/>
                </a:solidFill>
                <a:latin typeface="Oscine" panose="020B0506040202020204" pitchFamily="34" charset="0"/>
                <a:ea typeface="+mn-ea"/>
                <a:cs typeface="Oscine" panose="020B0506040202020204" pitchFamily="34" charset="0"/>
              </a:rPr>
              <a:t> robots can optimize the processes</a:t>
            </a:r>
          </a:p>
        </p:txBody>
      </p:sp>
      <p:pic>
        <p:nvPicPr>
          <p:cNvPr id="21" name="Billede 7" descr="Et billede, der indeholder gulv, bygning, person, bagage&#10;&#10;Automatisk genereret beskrivelse">
            <a:extLst>
              <a:ext uri="{FF2B5EF4-FFF2-40B4-BE49-F238E27FC236}">
                <a16:creationId xmlns:a16="http://schemas.microsoft.com/office/drawing/2014/main" id="{6A4BBE93-3301-4A82-84A9-649FBD83D44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36" r="23484"/>
          <a:stretch/>
        </p:blipFill>
        <p:spPr>
          <a:xfrm>
            <a:off x="9208474" y="1066799"/>
            <a:ext cx="2275962" cy="2658234"/>
          </a:xfrm>
          <a:prstGeom prst="rect">
            <a:avLst/>
          </a:prstGeom>
        </p:spPr>
      </p:pic>
      <p:pic>
        <p:nvPicPr>
          <p:cNvPr id="22" name="Billede 9" descr="Et billede, der indeholder indendørs, gulv, bygning, loft&#10;&#10;Automatisk genereret beskrivelse">
            <a:extLst>
              <a:ext uri="{FF2B5EF4-FFF2-40B4-BE49-F238E27FC236}">
                <a16:creationId xmlns:a16="http://schemas.microsoft.com/office/drawing/2014/main" id="{DBCBB0EF-0D45-4BA5-9231-69387CF82E3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480" t="2389" r="27487" b="1133"/>
          <a:stretch/>
        </p:blipFill>
        <p:spPr>
          <a:xfrm>
            <a:off x="6865122" y="1066799"/>
            <a:ext cx="2275962" cy="2658231"/>
          </a:xfrm>
          <a:prstGeom prst="rect">
            <a:avLst/>
          </a:prstGeom>
        </p:spPr>
      </p:pic>
      <p:pic>
        <p:nvPicPr>
          <p:cNvPr id="24" name="Billede 11" descr="Et billede, der indeholder indendørs, gulv, loft, bygning&#10;&#10;Automatisk genereret beskrivelse">
            <a:extLst>
              <a:ext uri="{FF2B5EF4-FFF2-40B4-BE49-F238E27FC236}">
                <a16:creationId xmlns:a16="http://schemas.microsoft.com/office/drawing/2014/main" id="{11F51A05-99FF-4627-B651-1BF47C0C33B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68" r="17868"/>
          <a:stretch/>
        </p:blipFill>
        <p:spPr>
          <a:xfrm>
            <a:off x="6863420" y="3823877"/>
            <a:ext cx="2275962" cy="2361023"/>
          </a:xfrm>
          <a:prstGeom prst="rect">
            <a:avLst/>
          </a:prstGeom>
        </p:spPr>
      </p:pic>
      <p:pic>
        <p:nvPicPr>
          <p:cNvPr id="25" name="Billede 13" descr="Et billede, der indeholder gulv, indendørs, bygning, væg&#10;&#10;Automatisk genereret beskrivelse">
            <a:extLst>
              <a:ext uri="{FF2B5EF4-FFF2-40B4-BE49-F238E27FC236}">
                <a16:creationId xmlns:a16="http://schemas.microsoft.com/office/drawing/2014/main" id="{7C7D6C7D-2DB3-48A5-9F56-D14C8290DBD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68" r="17868"/>
          <a:stretch/>
        </p:blipFill>
        <p:spPr>
          <a:xfrm>
            <a:off x="9206770" y="3823877"/>
            <a:ext cx="2275962" cy="2361023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06171E47-6453-4A5C-BFCF-32E75C2B9A1D}"/>
              </a:ext>
            </a:extLst>
          </p:cNvPr>
          <p:cNvSpPr/>
          <p:nvPr/>
        </p:nvSpPr>
        <p:spPr>
          <a:xfrm>
            <a:off x="1038697" y="5379440"/>
            <a:ext cx="2275962" cy="66531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rtlCol="0" anchor="ctr"/>
          <a:lstStyle/>
          <a:p>
            <a:pPr>
              <a:buClr>
                <a:schemeClr val="accent1"/>
              </a:buClr>
            </a:pPr>
            <a:r>
              <a:rPr lang="en-US" sz="1400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ospitals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6E193901-5F30-40B8-A13A-4DE205CD5770}"/>
              </a:ext>
            </a:extLst>
          </p:cNvPr>
          <p:cNvSpPr/>
          <p:nvPr/>
        </p:nvSpPr>
        <p:spPr>
          <a:xfrm>
            <a:off x="725760" y="5383340"/>
            <a:ext cx="575555" cy="657510"/>
          </a:xfrm>
          <a:prstGeom prst="rect">
            <a:avLst/>
          </a:prstGeom>
          <a:blipFill>
            <a:blip r:embed="rId7"/>
            <a:srcRect/>
            <a:stretch>
              <a:fillRect l="-320837" r="-320837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pPr algn="ctr"/>
            <a:endParaRPr lang="en-US" sz="140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8F21670-BF0E-4543-ABBB-3B093EE8195D}"/>
              </a:ext>
            </a:extLst>
          </p:cNvPr>
          <p:cNvSpPr/>
          <p:nvPr/>
        </p:nvSpPr>
        <p:spPr>
          <a:xfrm>
            <a:off x="3904908" y="5379440"/>
            <a:ext cx="2275962" cy="66531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rtlCol="0" anchor="ctr"/>
          <a:lstStyle/>
          <a:p>
            <a:pPr>
              <a:buClr>
                <a:schemeClr val="accent1"/>
              </a:buClr>
            </a:pPr>
            <a:r>
              <a:rPr lang="en-US" sz="1400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…and many more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D83AB2FD-1991-40FD-8F84-D293BCC88E8C}"/>
              </a:ext>
            </a:extLst>
          </p:cNvPr>
          <p:cNvSpPr/>
          <p:nvPr/>
        </p:nvSpPr>
        <p:spPr>
          <a:xfrm>
            <a:off x="3586478" y="5383340"/>
            <a:ext cx="575555" cy="657510"/>
          </a:xfrm>
          <a:prstGeom prst="rect">
            <a:avLst/>
          </a:prstGeom>
          <a:blipFill>
            <a:blip r:embed="rId7"/>
            <a:srcRect/>
            <a:stretch>
              <a:fillRect l="-320837" r="-320837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pPr algn="ctr"/>
            <a:endParaRPr lang="en-US" sz="1400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4D93F686-A377-45FD-89A4-0192AC03F333}"/>
              </a:ext>
            </a:extLst>
          </p:cNvPr>
          <p:cNvSpPr/>
          <p:nvPr/>
        </p:nvSpPr>
        <p:spPr>
          <a:xfrm>
            <a:off x="1038697" y="4644942"/>
            <a:ext cx="2275962" cy="66531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rtlCol="0" anchor="ctr"/>
          <a:lstStyle/>
          <a:p>
            <a:pPr>
              <a:buClr>
                <a:schemeClr val="accent1"/>
              </a:buClr>
            </a:pPr>
            <a:r>
              <a:rPr lang="en-US" sz="1400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ird-party logistics (3PLs)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8CBEFED8-FCA7-4A40-A149-58795653E84D}"/>
              </a:ext>
            </a:extLst>
          </p:cNvPr>
          <p:cNvSpPr/>
          <p:nvPr/>
        </p:nvSpPr>
        <p:spPr>
          <a:xfrm>
            <a:off x="726258" y="4645815"/>
            <a:ext cx="580855" cy="663565"/>
          </a:xfrm>
          <a:prstGeom prst="rect">
            <a:avLst/>
          </a:prstGeom>
          <a:blipFill>
            <a:blip r:embed="rId8"/>
            <a:srcRect/>
            <a:stretch>
              <a:fillRect l="-32180" t="-50520" r="-39261" b="-42547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pPr algn="ctr"/>
            <a:endParaRPr lang="en-US" sz="140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5A729F98-B4B2-43EE-8E2D-15D3B2A2447B}"/>
              </a:ext>
            </a:extLst>
          </p:cNvPr>
          <p:cNvSpPr/>
          <p:nvPr/>
        </p:nvSpPr>
        <p:spPr>
          <a:xfrm>
            <a:off x="3899415" y="4644942"/>
            <a:ext cx="2275962" cy="66531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rtlCol="0" anchor="ctr"/>
          <a:lstStyle/>
          <a:p>
            <a:pPr>
              <a:buClr>
                <a:schemeClr val="accent1"/>
              </a:buClr>
            </a:pPr>
            <a:r>
              <a:rPr lang="en-US" sz="1400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sumer Goods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B2364501-9F36-455C-B8BD-2860AE41EF05}"/>
              </a:ext>
            </a:extLst>
          </p:cNvPr>
          <p:cNvSpPr/>
          <p:nvPr/>
        </p:nvSpPr>
        <p:spPr>
          <a:xfrm>
            <a:off x="3586976" y="4645815"/>
            <a:ext cx="580855" cy="663565"/>
          </a:xfrm>
          <a:prstGeom prst="rect">
            <a:avLst/>
          </a:prstGeom>
          <a:blipFill>
            <a:blip r:embed="rId8"/>
            <a:srcRect/>
            <a:stretch>
              <a:fillRect l="-32180" t="-50520" r="-39261" b="-42547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pPr algn="ctr"/>
            <a:endParaRPr lang="en-US" sz="140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0BCF6719-A5EE-4BF4-99A5-C67DFDF76F7A}"/>
              </a:ext>
            </a:extLst>
          </p:cNvPr>
          <p:cNvSpPr/>
          <p:nvPr/>
        </p:nvSpPr>
        <p:spPr>
          <a:xfrm>
            <a:off x="1038697" y="3175944"/>
            <a:ext cx="2275962" cy="66531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rtlCol="0" anchor="ctr"/>
          <a:lstStyle/>
          <a:p>
            <a:pPr>
              <a:buClr>
                <a:schemeClr val="accent1"/>
              </a:buClr>
            </a:pPr>
            <a:r>
              <a:rPr lang="en-US" sz="1400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utomotive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81592D7C-7E49-4C30-9BF6-F779D5C537EF}"/>
              </a:ext>
            </a:extLst>
          </p:cNvPr>
          <p:cNvSpPr/>
          <p:nvPr/>
        </p:nvSpPr>
        <p:spPr>
          <a:xfrm>
            <a:off x="726258" y="3176817"/>
            <a:ext cx="580855" cy="663565"/>
          </a:xfrm>
          <a:prstGeom prst="rect">
            <a:avLst/>
          </a:prstGeom>
          <a:blipFill>
            <a:blip r:embed="rId8"/>
            <a:srcRect/>
            <a:stretch>
              <a:fillRect l="-32180" t="-50520" r="-39261" b="-42547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pPr algn="ctr"/>
            <a:endParaRPr lang="en-US" sz="1400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7FDAF99B-BCF3-4FC2-B130-DE866CF770DE}"/>
              </a:ext>
            </a:extLst>
          </p:cNvPr>
          <p:cNvSpPr/>
          <p:nvPr/>
        </p:nvSpPr>
        <p:spPr>
          <a:xfrm>
            <a:off x="3899415" y="3175944"/>
            <a:ext cx="2275962" cy="66531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rtlCol="0" anchor="ctr"/>
          <a:lstStyle/>
          <a:p>
            <a:pPr>
              <a:buClr>
                <a:schemeClr val="accent1"/>
              </a:buClr>
            </a:pPr>
            <a:r>
              <a:rPr lang="en-US" sz="1400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ood &amp; Beverage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B489A136-4200-4089-BD79-459DB6C26C2B}"/>
              </a:ext>
            </a:extLst>
          </p:cNvPr>
          <p:cNvSpPr/>
          <p:nvPr/>
        </p:nvSpPr>
        <p:spPr>
          <a:xfrm>
            <a:off x="3586976" y="3176817"/>
            <a:ext cx="580855" cy="663565"/>
          </a:xfrm>
          <a:prstGeom prst="rect">
            <a:avLst/>
          </a:prstGeom>
          <a:blipFill>
            <a:blip r:embed="rId8"/>
            <a:srcRect/>
            <a:stretch>
              <a:fillRect l="-32180" t="-50520" r="-39261" b="-42547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pPr algn="ctr"/>
            <a:endParaRPr lang="en-US" sz="1400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D5FA92B4-B88F-4F35-81DE-76B90BB8FA3D}"/>
              </a:ext>
            </a:extLst>
          </p:cNvPr>
          <p:cNvSpPr/>
          <p:nvPr/>
        </p:nvSpPr>
        <p:spPr>
          <a:xfrm>
            <a:off x="1038697" y="3910443"/>
            <a:ext cx="2275962" cy="66531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rtlCol="0" anchor="ctr"/>
          <a:lstStyle/>
          <a:p>
            <a:pPr>
              <a:buClr>
                <a:schemeClr val="accent1"/>
              </a:buClr>
            </a:pPr>
            <a:r>
              <a:rPr lang="en-US" sz="1400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lectronics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3DA6F3B2-8DB8-47FE-85C4-D54EF303F3C4}"/>
              </a:ext>
            </a:extLst>
          </p:cNvPr>
          <p:cNvSpPr/>
          <p:nvPr/>
        </p:nvSpPr>
        <p:spPr>
          <a:xfrm>
            <a:off x="725760" y="3914343"/>
            <a:ext cx="575555" cy="657510"/>
          </a:xfrm>
          <a:prstGeom prst="rect">
            <a:avLst/>
          </a:prstGeom>
          <a:blipFill>
            <a:blip r:embed="rId7"/>
            <a:srcRect/>
            <a:stretch>
              <a:fillRect l="-320837" r="-320837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pPr algn="ctr"/>
            <a:endParaRPr lang="en-US" sz="140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60647958-2EC0-4318-A23B-A19CA5EDC914}"/>
              </a:ext>
            </a:extLst>
          </p:cNvPr>
          <p:cNvSpPr/>
          <p:nvPr/>
        </p:nvSpPr>
        <p:spPr>
          <a:xfrm>
            <a:off x="3899415" y="3910443"/>
            <a:ext cx="2275962" cy="66531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rtlCol="0" anchor="ctr"/>
          <a:lstStyle/>
          <a:p>
            <a:pPr>
              <a:buClr>
                <a:schemeClr val="accent1"/>
              </a:buClr>
            </a:pPr>
            <a:r>
              <a:rPr lang="en-US" sz="1400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ife Science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7BC383B3-2299-4629-9AC0-393FBD4EBA9A}"/>
              </a:ext>
            </a:extLst>
          </p:cNvPr>
          <p:cNvSpPr/>
          <p:nvPr/>
        </p:nvSpPr>
        <p:spPr>
          <a:xfrm>
            <a:off x="3586478" y="3914343"/>
            <a:ext cx="575555" cy="657510"/>
          </a:xfrm>
          <a:prstGeom prst="rect">
            <a:avLst/>
          </a:prstGeom>
          <a:blipFill>
            <a:blip r:embed="rId7"/>
            <a:srcRect/>
            <a:stretch>
              <a:fillRect l="-320837" r="-320837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0" rtlCol="0" anchor="ctr"/>
          <a:lstStyle/>
          <a:p>
            <a:pPr algn="ctr"/>
            <a:endParaRPr lang="en-US" sz="1400"/>
          </a:p>
        </p:txBody>
      </p:sp>
      <p:pic>
        <p:nvPicPr>
          <p:cNvPr id="50" name="Graphic 49">
            <a:extLst>
              <a:ext uri="{FF2B5EF4-FFF2-40B4-BE49-F238E27FC236}">
                <a16:creationId xmlns:a16="http://schemas.microsoft.com/office/drawing/2014/main" id="{BDE6F9DE-1C16-42CD-9FFB-39F29A46168D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69421" y="4830333"/>
            <a:ext cx="294528" cy="294528"/>
          </a:xfrm>
          <a:prstGeom prst="rect">
            <a:avLst/>
          </a:prstGeom>
        </p:spPr>
      </p:pic>
      <p:pic>
        <p:nvPicPr>
          <p:cNvPr id="51" name="Graphic 50">
            <a:extLst>
              <a:ext uri="{FF2B5EF4-FFF2-40B4-BE49-F238E27FC236}">
                <a16:creationId xmlns:a16="http://schemas.microsoft.com/office/drawing/2014/main" id="{12C92B70-08BB-4F20-A17D-D1B71975D952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697370" y="5535210"/>
            <a:ext cx="353771" cy="353771"/>
          </a:xfrm>
          <a:prstGeom prst="rect">
            <a:avLst/>
          </a:prstGeom>
        </p:spPr>
      </p:pic>
      <p:sp>
        <p:nvSpPr>
          <p:cNvPr id="59" name="Freeform 5">
            <a:extLst>
              <a:ext uri="{FF2B5EF4-FFF2-40B4-BE49-F238E27FC236}">
                <a16:creationId xmlns:a16="http://schemas.microsoft.com/office/drawing/2014/main" id="{D79CCB8D-115A-4ED5-A4AC-7E8DEC5940C1}"/>
              </a:ext>
            </a:extLst>
          </p:cNvPr>
          <p:cNvSpPr>
            <a:spLocks noEditPoints="1"/>
          </p:cNvSpPr>
          <p:nvPr/>
        </p:nvSpPr>
        <p:spPr bwMode="auto">
          <a:xfrm>
            <a:off x="3715013" y="4077209"/>
            <a:ext cx="318485" cy="331779"/>
          </a:xfrm>
          <a:custGeom>
            <a:avLst/>
            <a:gdLst>
              <a:gd name="T0" fmla="*/ 924 w 1492"/>
              <a:gd name="T1" fmla="*/ 1404 h 1555"/>
              <a:gd name="T2" fmla="*/ 851 w 1492"/>
              <a:gd name="T3" fmla="*/ 1517 h 1555"/>
              <a:gd name="T4" fmla="*/ 691 w 1492"/>
              <a:gd name="T5" fmla="*/ 1555 h 1555"/>
              <a:gd name="T6" fmla="*/ 630 w 1492"/>
              <a:gd name="T7" fmla="*/ 1476 h 1555"/>
              <a:gd name="T8" fmla="*/ 569 w 1492"/>
              <a:gd name="T9" fmla="*/ 1359 h 1555"/>
              <a:gd name="T10" fmla="*/ 880 w 1492"/>
              <a:gd name="T11" fmla="*/ 1315 h 1555"/>
              <a:gd name="T12" fmla="*/ 1129 w 1492"/>
              <a:gd name="T13" fmla="*/ 747 h 1555"/>
              <a:gd name="T14" fmla="*/ 928 w 1492"/>
              <a:gd name="T15" fmla="*/ 1203 h 1555"/>
              <a:gd name="T16" fmla="*/ 627 w 1492"/>
              <a:gd name="T17" fmla="*/ 1257 h 1555"/>
              <a:gd name="T18" fmla="*/ 470 w 1492"/>
              <a:gd name="T19" fmla="*/ 1012 h 1555"/>
              <a:gd name="T20" fmla="*/ 744 w 1492"/>
              <a:gd name="T21" fmla="*/ 364 h 1555"/>
              <a:gd name="T22" fmla="*/ 789 w 1492"/>
              <a:gd name="T23" fmla="*/ 515 h 1555"/>
              <a:gd name="T24" fmla="*/ 470 w 1492"/>
              <a:gd name="T25" fmla="*/ 748 h 1555"/>
              <a:gd name="T26" fmla="*/ 556 w 1492"/>
              <a:gd name="T27" fmla="*/ 748 h 1555"/>
              <a:gd name="T28" fmla="*/ 789 w 1492"/>
              <a:gd name="T29" fmla="*/ 515 h 1555"/>
              <a:gd name="T30" fmla="*/ 789 w 1492"/>
              <a:gd name="T31" fmla="*/ 195 h 1555"/>
              <a:gd name="T32" fmla="*/ 746 w 1492"/>
              <a:gd name="T33" fmla="*/ 0 h 1555"/>
              <a:gd name="T34" fmla="*/ 703 w 1492"/>
              <a:gd name="T35" fmla="*/ 195 h 1555"/>
              <a:gd name="T36" fmla="*/ 238 w 1492"/>
              <a:gd name="T37" fmla="*/ 746 h 1555"/>
              <a:gd name="T38" fmla="*/ 43 w 1492"/>
              <a:gd name="T39" fmla="*/ 703 h 1555"/>
              <a:gd name="T40" fmla="*/ 43 w 1492"/>
              <a:gd name="T41" fmla="*/ 789 h 1555"/>
              <a:gd name="T42" fmla="*/ 238 w 1492"/>
              <a:gd name="T43" fmla="*/ 746 h 1555"/>
              <a:gd name="T44" fmla="*/ 1298 w 1492"/>
              <a:gd name="T45" fmla="*/ 703 h 1555"/>
              <a:gd name="T46" fmla="*/ 1298 w 1492"/>
              <a:gd name="T47" fmla="*/ 789 h 1555"/>
              <a:gd name="T48" fmla="*/ 1492 w 1492"/>
              <a:gd name="T49" fmla="*/ 746 h 1555"/>
              <a:gd name="T50" fmla="*/ 326 w 1492"/>
              <a:gd name="T51" fmla="*/ 1106 h 1555"/>
              <a:gd name="T52" fmla="*/ 219 w 1492"/>
              <a:gd name="T53" fmla="*/ 1274 h 1555"/>
              <a:gd name="T54" fmla="*/ 279 w 1492"/>
              <a:gd name="T55" fmla="*/ 1274 h 1555"/>
              <a:gd name="T56" fmla="*/ 387 w 1492"/>
              <a:gd name="T57" fmla="*/ 1106 h 1555"/>
              <a:gd name="T58" fmla="*/ 1136 w 1492"/>
              <a:gd name="T59" fmla="*/ 399 h 1555"/>
              <a:gd name="T60" fmla="*/ 1274 w 1492"/>
              <a:gd name="T61" fmla="*/ 280 h 1555"/>
              <a:gd name="T62" fmla="*/ 1213 w 1492"/>
              <a:gd name="T63" fmla="*/ 219 h 1555"/>
              <a:gd name="T64" fmla="*/ 1106 w 1492"/>
              <a:gd name="T65" fmla="*/ 387 h 1555"/>
              <a:gd name="T66" fmla="*/ 326 w 1492"/>
              <a:gd name="T67" fmla="*/ 387 h 1555"/>
              <a:gd name="T68" fmla="*/ 387 w 1492"/>
              <a:gd name="T69" fmla="*/ 387 h 1555"/>
              <a:gd name="T70" fmla="*/ 279 w 1492"/>
              <a:gd name="T71" fmla="*/ 218 h 1555"/>
              <a:gd name="T72" fmla="*/ 218 w 1492"/>
              <a:gd name="T73" fmla="*/ 279 h 1555"/>
              <a:gd name="T74" fmla="*/ 1167 w 1492"/>
              <a:gd name="T75" fmla="*/ 1106 h 1555"/>
              <a:gd name="T76" fmla="*/ 1106 w 1492"/>
              <a:gd name="T77" fmla="*/ 1167 h 1555"/>
              <a:gd name="T78" fmla="*/ 1243 w 1492"/>
              <a:gd name="T79" fmla="*/ 1287 h 1555"/>
              <a:gd name="T80" fmla="*/ 1274 w 1492"/>
              <a:gd name="T81" fmla="*/ 1213 h 1555"/>
              <a:gd name="T82" fmla="*/ 1167 w 1492"/>
              <a:gd name="T83" fmla="*/ 1106 h 15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492" h="1555">
                <a:moveTo>
                  <a:pt x="924" y="1359"/>
                </a:moveTo>
                <a:cubicBezTo>
                  <a:pt x="924" y="1404"/>
                  <a:pt x="924" y="1404"/>
                  <a:pt x="924" y="1404"/>
                </a:cubicBezTo>
                <a:cubicBezTo>
                  <a:pt x="924" y="1441"/>
                  <a:pt x="897" y="1471"/>
                  <a:pt x="862" y="1476"/>
                </a:cubicBezTo>
                <a:cubicBezTo>
                  <a:pt x="851" y="1517"/>
                  <a:pt x="851" y="1517"/>
                  <a:pt x="851" y="1517"/>
                </a:cubicBezTo>
                <a:cubicBezTo>
                  <a:pt x="845" y="1540"/>
                  <a:pt x="825" y="1555"/>
                  <a:pt x="802" y="1555"/>
                </a:cubicBezTo>
                <a:cubicBezTo>
                  <a:pt x="691" y="1555"/>
                  <a:pt x="691" y="1555"/>
                  <a:pt x="691" y="1555"/>
                </a:cubicBezTo>
                <a:cubicBezTo>
                  <a:pt x="667" y="1555"/>
                  <a:pt x="647" y="1540"/>
                  <a:pt x="641" y="1517"/>
                </a:cubicBezTo>
                <a:cubicBezTo>
                  <a:pt x="630" y="1476"/>
                  <a:pt x="630" y="1476"/>
                  <a:pt x="630" y="1476"/>
                </a:cubicBezTo>
                <a:cubicBezTo>
                  <a:pt x="595" y="1470"/>
                  <a:pt x="569" y="1441"/>
                  <a:pt x="569" y="1404"/>
                </a:cubicBezTo>
                <a:cubicBezTo>
                  <a:pt x="569" y="1359"/>
                  <a:pt x="569" y="1359"/>
                  <a:pt x="569" y="1359"/>
                </a:cubicBezTo>
                <a:cubicBezTo>
                  <a:pt x="569" y="1334"/>
                  <a:pt x="588" y="1315"/>
                  <a:pt x="612" y="1315"/>
                </a:cubicBezTo>
                <a:cubicBezTo>
                  <a:pt x="880" y="1315"/>
                  <a:pt x="880" y="1315"/>
                  <a:pt x="880" y="1315"/>
                </a:cubicBezTo>
                <a:cubicBezTo>
                  <a:pt x="904" y="1315"/>
                  <a:pt x="924" y="1335"/>
                  <a:pt x="924" y="1359"/>
                </a:cubicBezTo>
                <a:close/>
                <a:moveTo>
                  <a:pt x="1129" y="747"/>
                </a:moveTo>
                <a:cubicBezTo>
                  <a:pt x="1129" y="850"/>
                  <a:pt x="1088" y="944"/>
                  <a:pt x="1022" y="1012"/>
                </a:cubicBezTo>
                <a:cubicBezTo>
                  <a:pt x="971" y="1065"/>
                  <a:pt x="939" y="1132"/>
                  <a:pt x="928" y="1203"/>
                </a:cubicBezTo>
                <a:cubicBezTo>
                  <a:pt x="923" y="1234"/>
                  <a:pt x="896" y="1257"/>
                  <a:pt x="865" y="1257"/>
                </a:cubicBezTo>
                <a:cubicBezTo>
                  <a:pt x="627" y="1257"/>
                  <a:pt x="627" y="1257"/>
                  <a:pt x="627" y="1257"/>
                </a:cubicBezTo>
                <a:cubicBezTo>
                  <a:pt x="596" y="1257"/>
                  <a:pt x="569" y="1234"/>
                  <a:pt x="565" y="1204"/>
                </a:cubicBezTo>
                <a:cubicBezTo>
                  <a:pt x="554" y="1132"/>
                  <a:pt x="521" y="1064"/>
                  <a:pt x="470" y="1012"/>
                </a:cubicBezTo>
                <a:cubicBezTo>
                  <a:pt x="405" y="944"/>
                  <a:pt x="364" y="852"/>
                  <a:pt x="363" y="751"/>
                </a:cubicBezTo>
                <a:cubicBezTo>
                  <a:pt x="361" y="538"/>
                  <a:pt x="531" y="365"/>
                  <a:pt x="744" y="364"/>
                </a:cubicBezTo>
                <a:cubicBezTo>
                  <a:pt x="956" y="362"/>
                  <a:pt x="1129" y="534"/>
                  <a:pt x="1129" y="747"/>
                </a:cubicBezTo>
                <a:close/>
                <a:moveTo>
                  <a:pt x="789" y="515"/>
                </a:moveTo>
                <a:cubicBezTo>
                  <a:pt x="789" y="491"/>
                  <a:pt x="770" y="471"/>
                  <a:pt x="746" y="471"/>
                </a:cubicBezTo>
                <a:cubicBezTo>
                  <a:pt x="594" y="471"/>
                  <a:pt x="470" y="595"/>
                  <a:pt x="470" y="748"/>
                </a:cubicBezTo>
                <a:cubicBezTo>
                  <a:pt x="470" y="772"/>
                  <a:pt x="489" y="791"/>
                  <a:pt x="513" y="791"/>
                </a:cubicBezTo>
                <a:cubicBezTo>
                  <a:pt x="537" y="791"/>
                  <a:pt x="556" y="772"/>
                  <a:pt x="556" y="748"/>
                </a:cubicBezTo>
                <a:cubicBezTo>
                  <a:pt x="556" y="643"/>
                  <a:pt x="642" y="558"/>
                  <a:pt x="746" y="558"/>
                </a:cubicBezTo>
                <a:cubicBezTo>
                  <a:pt x="770" y="558"/>
                  <a:pt x="789" y="539"/>
                  <a:pt x="789" y="515"/>
                </a:cubicBezTo>
                <a:close/>
                <a:moveTo>
                  <a:pt x="746" y="238"/>
                </a:moveTo>
                <a:cubicBezTo>
                  <a:pt x="770" y="238"/>
                  <a:pt x="789" y="219"/>
                  <a:pt x="789" y="195"/>
                </a:cubicBezTo>
                <a:cubicBezTo>
                  <a:pt x="789" y="43"/>
                  <a:pt x="789" y="43"/>
                  <a:pt x="789" y="43"/>
                </a:cubicBezTo>
                <a:cubicBezTo>
                  <a:pt x="789" y="20"/>
                  <a:pt x="770" y="0"/>
                  <a:pt x="746" y="0"/>
                </a:cubicBezTo>
                <a:cubicBezTo>
                  <a:pt x="722" y="0"/>
                  <a:pt x="703" y="19"/>
                  <a:pt x="703" y="43"/>
                </a:cubicBezTo>
                <a:cubicBezTo>
                  <a:pt x="703" y="195"/>
                  <a:pt x="703" y="195"/>
                  <a:pt x="703" y="195"/>
                </a:cubicBezTo>
                <a:cubicBezTo>
                  <a:pt x="703" y="219"/>
                  <a:pt x="723" y="238"/>
                  <a:pt x="746" y="238"/>
                </a:cubicBezTo>
                <a:close/>
                <a:moveTo>
                  <a:pt x="238" y="746"/>
                </a:moveTo>
                <a:cubicBezTo>
                  <a:pt x="238" y="723"/>
                  <a:pt x="219" y="703"/>
                  <a:pt x="195" y="703"/>
                </a:cubicBezTo>
                <a:cubicBezTo>
                  <a:pt x="43" y="703"/>
                  <a:pt x="43" y="703"/>
                  <a:pt x="43" y="703"/>
                </a:cubicBezTo>
                <a:cubicBezTo>
                  <a:pt x="20" y="703"/>
                  <a:pt x="0" y="722"/>
                  <a:pt x="0" y="746"/>
                </a:cubicBezTo>
                <a:cubicBezTo>
                  <a:pt x="0" y="770"/>
                  <a:pt x="19" y="789"/>
                  <a:pt x="43" y="789"/>
                </a:cubicBezTo>
                <a:cubicBezTo>
                  <a:pt x="195" y="789"/>
                  <a:pt x="195" y="789"/>
                  <a:pt x="195" y="789"/>
                </a:cubicBezTo>
                <a:cubicBezTo>
                  <a:pt x="219" y="789"/>
                  <a:pt x="238" y="770"/>
                  <a:pt x="238" y="746"/>
                </a:cubicBezTo>
                <a:close/>
                <a:moveTo>
                  <a:pt x="1449" y="703"/>
                </a:moveTo>
                <a:cubicBezTo>
                  <a:pt x="1298" y="703"/>
                  <a:pt x="1298" y="703"/>
                  <a:pt x="1298" y="703"/>
                </a:cubicBezTo>
                <a:cubicBezTo>
                  <a:pt x="1274" y="703"/>
                  <a:pt x="1255" y="722"/>
                  <a:pt x="1255" y="746"/>
                </a:cubicBezTo>
                <a:cubicBezTo>
                  <a:pt x="1255" y="770"/>
                  <a:pt x="1274" y="789"/>
                  <a:pt x="1298" y="789"/>
                </a:cubicBezTo>
                <a:cubicBezTo>
                  <a:pt x="1449" y="789"/>
                  <a:pt x="1449" y="789"/>
                  <a:pt x="1449" y="789"/>
                </a:cubicBezTo>
                <a:cubicBezTo>
                  <a:pt x="1473" y="789"/>
                  <a:pt x="1492" y="770"/>
                  <a:pt x="1492" y="746"/>
                </a:cubicBezTo>
                <a:cubicBezTo>
                  <a:pt x="1492" y="723"/>
                  <a:pt x="1473" y="703"/>
                  <a:pt x="1449" y="703"/>
                </a:cubicBezTo>
                <a:close/>
                <a:moveTo>
                  <a:pt x="326" y="1106"/>
                </a:moveTo>
                <a:cubicBezTo>
                  <a:pt x="219" y="1213"/>
                  <a:pt x="219" y="1213"/>
                  <a:pt x="219" y="1213"/>
                </a:cubicBezTo>
                <a:cubicBezTo>
                  <a:pt x="202" y="1230"/>
                  <a:pt x="202" y="1257"/>
                  <a:pt x="219" y="1274"/>
                </a:cubicBezTo>
                <a:cubicBezTo>
                  <a:pt x="227" y="1283"/>
                  <a:pt x="238" y="1287"/>
                  <a:pt x="249" y="1287"/>
                </a:cubicBezTo>
                <a:cubicBezTo>
                  <a:pt x="260" y="1287"/>
                  <a:pt x="271" y="1283"/>
                  <a:pt x="279" y="1274"/>
                </a:cubicBezTo>
                <a:cubicBezTo>
                  <a:pt x="387" y="1167"/>
                  <a:pt x="387" y="1167"/>
                  <a:pt x="387" y="1167"/>
                </a:cubicBezTo>
                <a:cubicBezTo>
                  <a:pt x="404" y="1150"/>
                  <a:pt x="404" y="1123"/>
                  <a:pt x="387" y="1106"/>
                </a:cubicBezTo>
                <a:cubicBezTo>
                  <a:pt x="370" y="1089"/>
                  <a:pt x="342" y="1089"/>
                  <a:pt x="326" y="1106"/>
                </a:cubicBezTo>
                <a:close/>
                <a:moveTo>
                  <a:pt x="1136" y="399"/>
                </a:moveTo>
                <a:cubicBezTo>
                  <a:pt x="1147" y="399"/>
                  <a:pt x="1158" y="395"/>
                  <a:pt x="1167" y="387"/>
                </a:cubicBezTo>
                <a:cubicBezTo>
                  <a:pt x="1274" y="280"/>
                  <a:pt x="1274" y="280"/>
                  <a:pt x="1274" y="280"/>
                </a:cubicBezTo>
                <a:cubicBezTo>
                  <a:pt x="1291" y="263"/>
                  <a:pt x="1291" y="236"/>
                  <a:pt x="1274" y="219"/>
                </a:cubicBezTo>
                <a:cubicBezTo>
                  <a:pt x="1257" y="202"/>
                  <a:pt x="1230" y="202"/>
                  <a:pt x="1213" y="219"/>
                </a:cubicBezTo>
                <a:cubicBezTo>
                  <a:pt x="1106" y="326"/>
                  <a:pt x="1106" y="326"/>
                  <a:pt x="1106" y="326"/>
                </a:cubicBezTo>
                <a:cubicBezTo>
                  <a:pt x="1089" y="343"/>
                  <a:pt x="1089" y="370"/>
                  <a:pt x="1106" y="387"/>
                </a:cubicBezTo>
                <a:cubicBezTo>
                  <a:pt x="1114" y="395"/>
                  <a:pt x="1125" y="399"/>
                  <a:pt x="1136" y="399"/>
                </a:cubicBezTo>
                <a:close/>
                <a:moveTo>
                  <a:pt x="326" y="387"/>
                </a:moveTo>
                <a:cubicBezTo>
                  <a:pt x="334" y="395"/>
                  <a:pt x="345" y="399"/>
                  <a:pt x="356" y="399"/>
                </a:cubicBezTo>
                <a:cubicBezTo>
                  <a:pt x="367" y="399"/>
                  <a:pt x="378" y="395"/>
                  <a:pt x="387" y="387"/>
                </a:cubicBezTo>
                <a:cubicBezTo>
                  <a:pt x="404" y="370"/>
                  <a:pt x="404" y="342"/>
                  <a:pt x="387" y="325"/>
                </a:cubicBezTo>
                <a:cubicBezTo>
                  <a:pt x="279" y="218"/>
                  <a:pt x="279" y="218"/>
                  <a:pt x="279" y="218"/>
                </a:cubicBezTo>
                <a:cubicBezTo>
                  <a:pt x="262" y="201"/>
                  <a:pt x="235" y="201"/>
                  <a:pt x="218" y="218"/>
                </a:cubicBezTo>
                <a:cubicBezTo>
                  <a:pt x="201" y="235"/>
                  <a:pt x="201" y="262"/>
                  <a:pt x="218" y="279"/>
                </a:cubicBezTo>
                <a:lnTo>
                  <a:pt x="326" y="387"/>
                </a:lnTo>
                <a:close/>
                <a:moveTo>
                  <a:pt x="1167" y="1106"/>
                </a:moveTo>
                <a:cubicBezTo>
                  <a:pt x="1150" y="1089"/>
                  <a:pt x="1123" y="1089"/>
                  <a:pt x="1106" y="1106"/>
                </a:cubicBezTo>
                <a:cubicBezTo>
                  <a:pt x="1089" y="1123"/>
                  <a:pt x="1089" y="1150"/>
                  <a:pt x="1106" y="1167"/>
                </a:cubicBezTo>
                <a:cubicBezTo>
                  <a:pt x="1213" y="1274"/>
                  <a:pt x="1213" y="1274"/>
                  <a:pt x="1213" y="1274"/>
                </a:cubicBezTo>
                <a:cubicBezTo>
                  <a:pt x="1221" y="1283"/>
                  <a:pt x="1232" y="1287"/>
                  <a:pt x="1243" y="1287"/>
                </a:cubicBezTo>
                <a:cubicBezTo>
                  <a:pt x="1254" y="1287"/>
                  <a:pt x="1265" y="1283"/>
                  <a:pt x="1274" y="1274"/>
                </a:cubicBezTo>
                <a:cubicBezTo>
                  <a:pt x="1291" y="1257"/>
                  <a:pt x="1291" y="1230"/>
                  <a:pt x="1274" y="1213"/>
                </a:cubicBezTo>
                <a:lnTo>
                  <a:pt x="1167" y="1106"/>
                </a:lnTo>
                <a:close/>
                <a:moveTo>
                  <a:pt x="1167" y="1106"/>
                </a:moveTo>
                <a:cubicBezTo>
                  <a:pt x="1167" y="1106"/>
                  <a:pt x="1167" y="1106"/>
                  <a:pt x="1167" y="1106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D0D877E5-F698-4ED8-8597-2C88C61FAF1A}"/>
              </a:ext>
            </a:extLst>
          </p:cNvPr>
          <p:cNvGrpSpPr/>
          <p:nvPr/>
        </p:nvGrpSpPr>
        <p:grpSpPr>
          <a:xfrm>
            <a:off x="849736" y="5547572"/>
            <a:ext cx="327603" cy="329046"/>
            <a:chOff x="3397250" y="1831975"/>
            <a:chExt cx="360363" cy="361951"/>
          </a:xfrm>
          <a:solidFill>
            <a:schemeClr val="bg1"/>
          </a:solidFill>
        </p:grpSpPr>
        <p:sp>
          <p:nvSpPr>
            <p:cNvPr id="61" name="Freeform 36">
              <a:extLst>
                <a:ext uri="{FF2B5EF4-FFF2-40B4-BE49-F238E27FC236}">
                  <a16:creationId xmlns:a16="http://schemas.microsoft.com/office/drawing/2014/main" id="{C5C02CE8-B55B-4536-B319-6766CCC2B5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97250" y="1831975"/>
              <a:ext cx="225425" cy="361950"/>
            </a:xfrm>
            <a:custGeom>
              <a:avLst/>
              <a:gdLst>
                <a:gd name="T0" fmla="*/ 60 w 60"/>
                <a:gd name="T1" fmla="*/ 56 h 96"/>
                <a:gd name="T2" fmla="*/ 60 w 60"/>
                <a:gd name="T3" fmla="*/ 46 h 96"/>
                <a:gd name="T4" fmla="*/ 54 w 60"/>
                <a:gd name="T5" fmla="*/ 40 h 96"/>
                <a:gd name="T6" fmla="*/ 32 w 60"/>
                <a:gd name="T7" fmla="*/ 40 h 96"/>
                <a:gd name="T8" fmla="*/ 32 w 60"/>
                <a:gd name="T9" fmla="*/ 36 h 96"/>
                <a:gd name="T10" fmla="*/ 48 w 60"/>
                <a:gd name="T11" fmla="*/ 18 h 96"/>
                <a:gd name="T12" fmla="*/ 30 w 60"/>
                <a:gd name="T13" fmla="*/ 0 h 96"/>
                <a:gd name="T14" fmla="*/ 12 w 60"/>
                <a:gd name="T15" fmla="*/ 18 h 96"/>
                <a:gd name="T16" fmla="*/ 28 w 60"/>
                <a:gd name="T17" fmla="*/ 36 h 96"/>
                <a:gd name="T18" fmla="*/ 28 w 60"/>
                <a:gd name="T19" fmla="*/ 40 h 96"/>
                <a:gd name="T20" fmla="*/ 6 w 60"/>
                <a:gd name="T21" fmla="*/ 40 h 96"/>
                <a:gd name="T22" fmla="*/ 0 w 60"/>
                <a:gd name="T23" fmla="*/ 46 h 96"/>
                <a:gd name="T24" fmla="*/ 0 w 60"/>
                <a:gd name="T25" fmla="*/ 94 h 96"/>
                <a:gd name="T26" fmla="*/ 2 w 60"/>
                <a:gd name="T27" fmla="*/ 96 h 96"/>
                <a:gd name="T28" fmla="*/ 32 w 60"/>
                <a:gd name="T29" fmla="*/ 96 h 96"/>
                <a:gd name="T30" fmla="*/ 32 w 60"/>
                <a:gd name="T31" fmla="*/ 76 h 96"/>
                <a:gd name="T32" fmla="*/ 14 w 60"/>
                <a:gd name="T33" fmla="*/ 76 h 96"/>
                <a:gd name="T34" fmla="*/ 12 w 60"/>
                <a:gd name="T35" fmla="*/ 74 h 96"/>
                <a:gd name="T36" fmla="*/ 14 w 60"/>
                <a:gd name="T37" fmla="*/ 72 h 96"/>
                <a:gd name="T38" fmla="*/ 32 w 60"/>
                <a:gd name="T39" fmla="*/ 72 h 96"/>
                <a:gd name="T40" fmla="*/ 32 w 60"/>
                <a:gd name="T41" fmla="*/ 64 h 96"/>
                <a:gd name="T42" fmla="*/ 14 w 60"/>
                <a:gd name="T43" fmla="*/ 64 h 96"/>
                <a:gd name="T44" fmla="*/ 12 w 60"/>
                <a:gd name="T45" fmla="*/ 62 h 96"/>
                <a:gd name="T46" fmla="*/ 14 w 60"/>
                <a:gd name="T47" fmla="*/ 60 h 96"/>
                <a:gd name="T48" fmla="*/ 34 w 60"/>
                <a:gd name="T49" fmla="*/ 60 h 96"/>
                <a:gd name="T50" fmla="*/ 42 w 60"/>
                <a:gd name="T51" fmla="*/ 56 h 96"/>
                <a:gd name="T52" fmla="*/ 60 w 60"/>
                <a:gd name="T53" fmla="*/ 56 h 96"/>
                <a:gd name="T54" fmla="*/ 22 w 60"/>
                <a:gd name="T55" fmla="*/ 20 h 96"/>
                <a:gd name="T56" fmla="*/ 20 w 60"/>
                <a:gd name="T57" fmla="*/ 18 h 96"/>
                <a:gd name="T58" fmla="*/ 22 w 60"/>
                <a:gd name="T59" fmla="*/ 16 h 96"/>
                <a:gd name="T60" fmla="*/ 28 w 60"/>
                <a:gd name="T61" fmla="*/ 16 h 96"/>
                <a:gd name="T62" fmla="*/ 28 w 60"/>
                <a:gd name="T63" fmla="*/ 10 h 96"/>
                <a:gd name="T64" fmla="*/ 30 w 60"/>
                <a:gd name="T65" fmla="*/ 8 h 96"/>
                <a:gd name="T66" fmla="*/ 32 w 60"/>
                <a:gd name="T67" fmla="*/ 10 h 96"/>
                <a:gd name="T68" fmla="*/ 32 w 60"/>
                <a:gd name="T69" fmla="*/ 16 h 96"/>
                <a:gd name="T70" fmla="*/ 38 w 60"/>
                <a:gd name="T71" fmla="*/ 16 h 96"/>
                <a:gd name="T72" fmla="*/ 40 w 60"/>
                <a:gd name="T73" fmla="*/ 18 h 96"/>
                <a:gd name="T74" fmla="*/ 38 w 60"/>
                <a:gd name="T75" fmla="*/ 20 h 96"/>
                <a:gd name="T76" fmla="*/ 32 w 60"/>
                <a:gd name="T77" fmla="*/ 20 h 96"/>
                <a:gd name="T78" fmla="*/ 32 w 60"/>
                <a:gd name="T79" fmla="*/ 26 h 96"/>
                <a:gd name="T80" fmla="*/ 30 w 60"/>
                <a:gd name="T81" fmla="*/ 28 h 96"/>
                <a:gd name="T82" fmla="*/ 28 w 60"/>
                <a:gd name="T83" fmla="*/ 26 h 96"/>
                <a:gd name="T84" fmla="*/ 28 w 60"/>
                <a:gd name="T85" fmla="*/ 20 h 96"/>
                <a:gd name="T86" fmla="*/ 22 w 60"/>
                <a:gd name="T87" fmla="*/ 20 h 96"/>
                <a:gd name="T88" fmla="*/ 14 w 60"/>
                <a:gd name="T89" fmla="*/ 52 h 96"/>
                <a:gd name="T90" fmla="*/ 12 w 60"/>
                <a:gd name="T91" fmla="*/ 50 h 96"/>
                <a:gd name="T92" fmla="*/ 14 w 60"/>
                <a:gd name="T93" fmla="*/ 48 h 96"/>
                <a:gd name="T94" fmla="*/ 46 w 60"/>
                <a:gd name="T95" fmla="*/ 48 h 96"/>
                <a:gd name="T96" fmla="*/ 48 w 60"/>
                <a:gd name="T97" fmla="*/ 50 h 96"/>
                <a:gd name="T98" fmla="*/ 46 w 60"/>
                <a:gd name="T99" fmla="*/ 52 h 96"/>
                <a:gd name="T100" fmla="*/ 14 w 60"/>
                <a:gd name="T101" fmla="*/ 5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96">
                  <a:moveTo>
                    <a:pt x="60" y="56"/>
                  </a:moveTo>
                  <a:cubicBezTo>
                    <a:pt x="60" y="46"/>
                    <a:pt x="60" y="46"/>
                    <a:pt x="60" y="46"/>
                  </a:cubicBezTo>
                  <a:cubicBezTo>
                    <a:pt x="60" y="43"/>
                    <a:pt x="57" y="40"/>
                    <a:pt x="54" y="40"/>
                  </a:cubicBezTo>
                  <a:cubicBezTo>
                    <a:pt x="32" y="40"/>
                    <a:pt x="32" y="40"/>
                    <a:pt x="32" y="40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41" y="35"/>
                    <a:pt x="48" y="27"/>
                    <a:pt x="48" y="18"/>
                  </a:cubicBezTo>
                  <a:cubicBezTo>
                    <a:pt x="48" y="8"/>
                    <a:pt x="40" y="0"/>
                    <a:pt x="30" y="0"/>
                  </a:cubicBezTo>
                  <a:cubicBezTo>
                    <a:pt x="20" y="0"/>
                    <a:pt x="12" y="8"/>
                    <a:pt x="12" y="18"/>
                  </a:cubicBezTo>
                  <a:cubicBezTo>
                    <a:pt x="12" y="27"/>
                    <a:pt x="19" y="35"/>
                    <a:pt x="28" y="36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6" y="40"/>
                    <a:pt x="6" y="40"/>
                    <a:pt x="6" y="40"/>
                  </a:cubicBezTo>
                  <a:cubicBezTo>
                    <a:pt x="3" y="40"/>
                    <a:pt x="0" y="43"/>
                    <a:pt x="0" y="46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5"/>
                    <a:pt x="1" y="96"/>
                    <a:pt x="2" y="96"/>
                  </a:cubicBezTo>
                  <a:cubicBezTo>
                    <a:pt x="32" y="96"/>
                    <a:pt x="32" y="96"/>
                    <a:pt x="32" y="96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14" y="76"/>
                    <a:pt x="14" y="76"/>
                    <a:pt x="14" y="76"/>
                  </a:cubicBezTo>
                  <a:cubicBezTo>
                    <a:pt x="13" y="76"/>
                    <a:pt x="12" y="75"/>
                    <a:pt x="12" y="74"/>
                  </a:cubicBezTo>
                  <a:cubicBezTo>
                    <a:pt x="12" y="73"/>
                    <a:pt x="13" y="72"/>
                    <a:pt x="14" y="72"/>
                  </a:cubicBezTo>
                  <a:cubicBezTo>
                    <a:pt x="32" y="72"/>
                    <a:pt x="32" y="72"/>
                    <a:pt x="32" y="72"/>
                  </a:cubicBezTo>
                  <a:cubicBezTo>
                    <a:pt x="32" y="72"/>
                    <a:pt x="32" y="65"/>
                    <a:pt x="32" y="64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13" y="64"/>
                    <a:pt x="12" y="63"/>
                    <a:pt x="12" y="62"/>
                  </a:cubicBezTo>
                  <a:cubicBezTo>
                    <a:pt x="12" y="61"/>
                    <a:pt x="13" y="60"/>
                    <a:pt x="14" y="60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6" y="58"/>
                    <a:pt x="39" y="56"/>
                    <a:pt x="42" y="56"/>
                  </a:cubicBezTo>
                  <a:lnTo>
                    <a:pt x="60" y="56"/>
                  </a:lnTo>
                  <a:close/>
                  <a:moveTo>
                    <a:pt x="22" y="20"/>
                  </a:moveTo>
                  <a:cubicBezTo>
                    <a:pt x="21" y="20"/>
                    <a:pt x="20" y="19"/>
                    <a:pt x="20" y="18"/>
                  </a:cubicBezTo>
                  <a:cubicBezTo>
                    <a:pt x="20" y="17"/>
                    <a:pt x="21" y="16"/>
                    <a:pt x="22" y="16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9"/>
                    <a:pt x="29" y="8"/>
                    <a:pt x="30" y="8"/>
                  </a:cubicBezTo>
                  <a:cubicBezTo>
                    <a:pt x="31" y="8"/>
                    <a:pt x="32" y="9"/>
                    <a:pt x="32" y="10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8" y="16"/>
                    <a:pt x="38" y="16"/>
                    <a:pt x="38" y="16"/>
                  </a:cubicBezTo>
                  <a:cubicBezTo>
                    <a:pt x="39" y="16"/>
                    <a:pt x="40" y="17"/>
                    <a:pt x="40" y="18"/>
                  </a:cubicBezTo>
                  <a:cubicBezTo>
                    <a:pt x="40" y="19"/>
                    <a:pt x="39" y="20"/>
                    <a:pt x="38" y="20"/>
                  </a:cubicBezTo>
                  <a:cubicBezTo>
                    <a:pt x="32" y="20"/>
                    <a:pt x="32" y="20"/>
                    <a:pt x="32" y="20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7"/>
                    <a:pt x="31" y="28"/>
                    <a:pt x="30" y="28"/>
                  </a:cubicBezTo>
                  <a:cubicBezTo>
                    <a:pt x="29" y="28"/>
                    <a:pt x="28" y="27"/>
                    <a:pt x="28" y="26"/>
                  </a:cubicBezTo>
                  <a:cubicBezTo>
                    <a:pt x="28" y="20"/>
                    <a:pt x="28" y="20"/>
                    <a:pt x="28" y="20"/>
                  </a:cubicBezTo>
                  <a:lnTo>
                    <a:pt x="22" y="20"/>
                  </a:lnTo>
                  <a:close/>
                  <a:moveTo>
                    <a:pt x="14" y="52"/>
                  </a:moveTo>
                  <a:cubicBezTo>
                    <a:pt x="13" y="52"/>
                    <a:pt x="12" y="51"/>
                    <a:pt x="12" y="50"/>
                  </a:cubicBezTo>
                  <a:cubicBezTo>
                    <a:pt x="12" y="49"/>
                    <a:pt x="13" y="48"/>
                    <a:pt x="14" y="48"/>
                  </a:cubicBezTo>
                  <a:cubicBezTo>
                    <a:pt x="46" y="48"/>
                    <a:pt x="46" y="48"/>
                    <a:pt x="46" y="48"/>
                  </a:cubicBezTo>
                  <a:cubicBezTo>
                    <a:pt x="47" y="48"/>
                    <a:pt x="48" y="49"/>
                    <a:pt x="48" y="50"/>
                  </a:cubicBezTo>
                  <a:cubicBezTo>
                    <a:pt x="48" y="51"/>
                    <a:pt x="47" y="52"/>
                    <a:pt x="46" y="52"/>
                  </a:cubicBezTo>
                  <a:lnTo>
                    <a:pt x="14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3" name="Freeform 37">
              <a:extLst>
                <a:ext uri="{FF2B5EF4-FFF2-40B4-BE49-F238E27FC236}">
                  <a16:creationId xmlns:a16="http://schemas.microsoft.com/office/drawing/2014/main" id="{6C2581A3-E606-49B4-BC4B-6A46B83097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32188" y="2057400"/>
              <a:ext cx="225425" cy="136525"/>
            </a:xfrm>
            <a:custGeom>
              <a:avLst/>
              <a:gdLst>
                <a:gd name="T0" fmla="*/ 6 w 60"/>
                <a:gd name="T1" fmla="*/ 0 h 36"/>
                <a:gd name="T2" fmla="*/ 0 w 60"/>
                <a:gd name="T3" fmla="*/ 36 h 36"/>
                <a:gd name="T4" fmla="*/ 22 w 60"/>
                <a:gd name="T5" fmla="*/ 36 h 36"/>
                <a:gd name="T6" fmla="*/ 24 w 60"/>
                <a:gd name="T7" fmla="*/ 24 h 36"/>
                <a:gd name="T8" fmla="*/ 38 w 60"/>
                <a:gd name="T9" fmla="*/ 26 h 36"/>
                <a:gd name="T10" fmla="*/ 58 w 60"/>
                <a:gd name="T11" fmla="*/ 36 h 36"/>
                <a:gd name="T12" fmla="*/ 60 w 60"/>
                <a:gd name="T13" fmla="*/ 6 h 36"/>
                <a:gd name="T14" fmla="*/ 14 w 60"/>
                <a:gd name="T15" fmla="*/ 20 h 36"/>
                <a:gd name="T16" fmla="*/ 8 w 60"/>
                <a:gd name="T17" fmla="*/ 18 h 36"/>
                <a:gd name="T18" fmla="*/ 14 w 60"/>
                <a:gd name="T19" fmla="*/ 16 h 36"/>
                <a:gd name="T20" fmla="*/ 14 w 60"/>
                <a:gd name="T21" fmla="*/ 20 h 36"/>
                <a:gd name="T22" fmla="*/ 10 w 60"/>
                <a:gd name="T23" fmla="*/ 12 h 36"/>
                <a:gd name="T24" fmla="*/ 10 w 60"/>
                <a:gd name="T25" fmla="*/ 8 h 36"/>
                <a:gd name="T26" fmla="*/ 16 w 60"/>
                <a:gd name="T27" fmla="*/ 10 h 36"/>
                <a:gd name="T28" fmla="*/ 26 w 60"/>
                <a:gd name="T29" fmla="*/ 20 h 36"/>
                <a:gd name="T30" fmla="*/ 20 w 60"/>
                <a:gd name="T31" fmla="*/ 18 h 36"/>
                <a:gd name="T32" fmla="*/ 26 w 60"/>
                <a:gd name="T33" fmla="*/ 16 h 36"/>
                <a:gd name="T34" fmla="*/ 26 w 60"/>
                <a:gd name="T35" fmla="*/ 20 h 36"/>
                <a:gd name="T36" fmla="*/ 22 w 60"/>
                <a:gd name="T37" fmla="*/ 12 h 36"/>
                <a:gd name="T38" fmla="*/ 22 w 60"/>
                <a:gd name="T39" fmla="*/ 8 h 36"/>
                <a:gd name="T40" fmla="*/ 28 w 60"/>
                <a:gd name="T41" fmla="*/ 10 h 36"/>
                <a:gd name="T42" fmla="*/ 38 w 60"/>
                <a:gd name="T43" fmla="*/ 20 h 36"/>
                <a:gd name="T44" fmla="*/ 32 w 60"/>
                <a:gd name="T45" fmla="*/ 18 h 36"/>
                <a:gd name="T46" fmla="*/ 38 w 60"/>
                <a:gd name="T47" fmla="*/ 16 h 36"/>
                <a:gd name="T48" fmla="*/ 38 w 60"/>
                <a:gd name="T49" fmla="*/ 20 h 36"/>
                <a:gd name="T50" fmla="*/ 34 w 60"/>
                <a:gd name="T51" fmla="*/ 12 h 36"/>
                <a:gd name="T52" fmla="*/ 34 w 60"/>
                <a:gd name="T53" fmla="*/ 8 h 36"/>
                <a:gd name="T54" fmla="*/ 40 w 60"/>
                <a:gd name="T55" fmla="*/ 10 h 36"/>
                <a:gd name="T56" fmla="*/ 50 w 60"/>
                <a:gd name="T57" fmla="*/ 20 h 36"/>
                <a:gd name="T58" fmla="*/ 44 w 60"/>
                <a:gd name="T59" fmla="*/ 18 h 36"/>
                <a:gd name="T60" fmla="*/ 50 w 60"/>
                <a:gd name="T61" fmla="*/ 16 h 36"/>
                <a:gd name="T62" fmla="*/ 50 w 60"/>
                <a:gd name="T63" fmla="*/ 20 h 36"/>
                <a:gd name="T64" fmla="*/ 46 w 60"/>
                <a:gd name="T65" fmla="*/ 12 h 36"/>
                <a:gd name="T66" fmla="*/ 46 w 60"/>
                <a:gd name="T67" fmla="*/ 8 h 36"/>
                <a:gd name="T68" fmla="*/ 52 w 60"/>
                <a:gd name="T69" fmla="*/ 1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36">
                  <a:moveTo>
                    <a:pt x="54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22" y="36"/>
                    <a:pt x="22" y="36"/>
                    <a:pt x="22" y="3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5"/>
                    <a:pt x="23" y="24"/>
                    <a:pt x="24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7" y="24"/>
                    <a:pt x="38" y="25"/>
                    <a:pt x="38" y="26"/>
                  </a:cubicBezTo>
                  <a:cubicBezTo>
                    <a:pt x="38" y="36"/>
                    <a:pt x="38" y="36"/>
                    <a:pt x="38" y="36"/>
                  </a:cubicBezTo>
                  <a:cubicBezTo>
                    <a:pt x="58" y="36"/>
                    <a:pt x="58" y="36"/>
                    <a:pt x="58" y="36"/>
                  </a:cubicBezTo>
                  <a:cubicBezTo>
                    <a:pt x="59" y="36"/>
                    <a:pt x="60" y="35"/>
                    <a:pt x="60" y="34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60" y="3"/>
                    <a:pt x="57" y="0"/>
                    <a:pt x="54" y="0"/>
                  </a:cubicBezTo>
                  <a:close/>
                  <a:moveTo>
                    <a:pt x="14" y="20"/>
                  </a:moveTo>
                  <a:cubicBezTo>
                    <a:pt x="10" y="20"/>
                    <a:pt x="10" y="20"/>
                    <a:pt x="10" y="20"/>
                  </a:cubicBezTo>
                  <a:cubicBezTo>
                    <a:pt x="9" y="20"/>
                    <a:pt x="8" y="19"/>
                    <a:pt x="8" y="18"/>
                  </a:cubicBezTo>
                  <a:cubicBezTo>
                    <a:pt x="8" y="17"/>
                    <a:pt x="9" y="16"/>
                    <a:pt x="10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5" y="16"/>
                    <a:pt x="16" y="17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lose/>
                  <a:moveTo>
                    <a:pt x="14" y="12"/>
                  </a:moveTo>
                  <a:cubicBezTo>
                    <a:pt x="10" y="12"/>
                    <a:pt x="10" y="12"/>
                    <a:pt x="10" y="12"/>
                  </a:cubicBezTo>
                  <a:cubicBezTo>
                    <a:pt x="9" y="12"/>
                    <a:pt x="8" y="11"/>
                    <a:pt x="8" y="10"/>
                  </a:cubicBezTo>
                  <a:cubicBezTo>
                    <a:pt x="8" y="9"/>
                    <a:pt x="9" y="8"/>
                    <a:pt x="10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5" y="8"/>
                    <a:pt x="16" y="9"/>
                    <a:pt x="16" y="10"/>
                  </a:cubicBezTo>
                  <a:cubicBezTo>
                    <a:pt x="16" y="11"/>
                    <a:pt x="15" y="12"/>
                    <a:pt x="14" y="12"/>
                  </a:cubicBezTo>
                  <a:close/>
                  <a:moveTo>
                    <a:pt x="26" y="20"/>
                  </a:moveTo>
                  <a:cubicBezTo>
                    <a:pt x="22" y="20"/>
                    <a:pt x="22" y="20"/>
                    <a:pt x="22" y="20"/>
                  </a:cubicBezTo>
                  <a:cubicBezTo>
                    <a:pt x="21" y="20"/>
                    <a:pt x="20" y="19"/>
                    <a:pt x="20" y="18"/>
                  </a:cubicBezTo>
                  <a:cubicBezTo>
                    <a:pt x="20" y="17"/>
                    <a:pt x="21" y="16"/>
                    <a:pt x="22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8" y="17"/>
                    <a:pt x="28" y="18"/>
                  </a:cubicBezTo>
                  <a:cubicBezTo>
                    <a:pt x="28" y="19"/>
                    <a:pt x="27" y="20"/>
                    <a:pt x="26" y="20"/>
                  </a:cubicBezTo>
                  <a:close/>
                  <a:moveTo>
                    <a:pt x="26" y="12"/>
                  </a:moveTo>
                  <a:cubicBezTo>
                    <a:pt x="22" y="12"/>
                    <a:pt x="22" y="12"/>
                    <a:pt x="22" y="12"/>
                  </a:cubicBezTo>
                  <a:cubicBezTo>
                    <a:pt x="21" y="12"/>
                    <a:pt x="20" y="11"/>
                    <a:pt x="20" y="10"/>
                  </a:cubicBezTo>
                  <a:cubicBezTo>
                    <a:pt x="20" y="9"/>
                    <a:pt x="21" y="8"/>
                    <a:pt x="22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8"/>
                    <a:pt x="28" y="9"/>
                    <a:pt x="28" y="10"/>
                  </a:cubicBezTo>
                  <a:cubicBezTo>
                    <a:pt x="28" y="11"/>
                    <a:pt x="27" y="12"/>
                    <a:pt x="26" y="12"/>
                  </a:cubicBezTo>
                  <a:close/>
                  <a:moveTo>
                    <a:pt x="38" y="20"/>
                  </a:moveTo>
                  <a:cubicBezTo>
                    <a:pt x="34" y="20"/>
                    <a:pt x="34" y="20"/>
                    <a:pt x="34" y="20"/>
                  </a:cubicBezTo>
                  <a:cubicBezTo>
                    <a:pt x="33" y="20"/>
                    <a:pt x="32" y="19"/>
                    <a:pt x="32" y="18"/>
                  </a:cubicBezTo>
                  <a:cubicBezTo>
                    <a:pt x="32" y="17"/>
                    <a:pt x="33" y="16"/>
                    <a:pt x="34" y="16"/>
                  </a:cubicBezTo>
                  <a:cubicBezTo>
                    <a:pt x="38" y="16"/>
                    <a:pt x="38" y="16"/>
                    <a:pt x="38" y="16"/>
                  </a:cubicBezTo>
                  <a:cubicBezTo>
                    <a:pt x="39" y="16"/>
                    <a:pt x="40" y="17"/>
                    <a:pt x="40" y="18"/>
                  </a:cubicBezTo>
                  <a:cubicBezTo>
                    <a:pt x="40" y="19"/>
                    <a:pt x="39" y="20"/>
                    <a:pt x="38" y="20"/>
                  </a:cubicBezTo>
                  <a:close/>
                  <a:moveTo>
                    <a:pt x="38" y="12"/>
                  </a:moveTo>
                  <a:cubicBezTo>
                    <a:pt x="34" y="12"/>
                    <a:pt x="34" y="12"/>
                    <a:pt x="34" y="12"/>
                  </a:cubicBezTo>
                  <a:cubicBezTo>
                    <a:pt x="33" y="12"/>
                    <a:pt x="32" y="11"/>
                    <a:pt x="32" y="10"/>
                  </a:cubicBezTo>
                  <a:cubicBezTo>
                    <a:pt x="32" y="9"/>
                    <a:pt x="33" y="8"/>
                    <a:pt x="34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9" y="8"/>
                    <a:pt x="40" y="9"/>
                    <a:pt x="40" y="10"/>
                  </a:cubicBezTo>
                  <a:cubicBezTo>
                    <a:pt x="40" y="11"/>
                    <a:pt x="39" y="12"/>
                    <a:pt x="38" y="12"/>
                  </a:cubicBezTo>
                  <a:close/>
                  <a:moveTo>
                    <a:pt x="50" y="20"/>
                  </a:moveTo>
                  <a:cubicBezTo>
                    <a:pt x="46" y="20"/>
                    <a:pt x="46" y="20"/>
                    <a:pt x="46" y="20"/>
                  </a:cubicBezTo>
                  <a:cubicBezTo>
                    <a:pt x="45" y="20"/>
                    <a:pt x="44" y="19"/>
                    <a:pt x="44" y="18"/>
                  </a:cubicBezTo>
                  <a:cubicBezTo>
                    <a:pt x="44" y="17"/>
                    <a:pt x="45" y="16"/>
                    <a:pt x="46" y="16"/>
                  </a:cubicBezTo>
                  <a:cubicBezTo>
                    <a:pt x="50" y="16"/>
                    <a:pt x="50" y="16"/>
                    <a:pt x="50" y="16"/>
                  </a:cubicBezTo>
                  <a:cubicBezTo>
                    <a:pt x="51" y="16"/>
                    <a:pt x="52" y="17"/>
                    <a:pt x="52" y="18"/>
                  </a:cubicBezTo>
                  <a:cubicBezTo>
                    <a:pt x="52" y="19"/>
                    <a:pt x="51" y="20"/>
                    <a:pt x="50" y="20"/>
                  </a:cubicBezTo>
                  <a:close/>
                  <a:moveTo>
                    <a:pt x="50" y="12"/>
                  </a:moveTo>
                  <a:cubicBezTo>
                    <a:pt x="46" y="12"/>
                    <a:pt x="46" y="12"/>
                    <a:pt x="46" y="12"/>
                  </a:cubicBezTo>
                  <a:cubicBezTo>
                    <a:pt x="45" y="12"/>
                    <a:pt x="44" y="11"/>
                    <a:pt x="44" y="10"/>
                  </a:cubicBezTo>
                  <a:cubicBezTo>
                    <a:pt x="44" y="9"/>
                    <a:pt x="45" y="8"/>
                    <a:pt x="46" y="8"/>
                  </a:cubicBezTo>
                  <a:cubicBezTo>
                    <a:pt x="50" y="8"/>
                    <a:pt x="50" y="8"/>
                    <a:pt x="50" y="8"/>
                  </a:cubicBezTo>
                  <a:cubicBezTo>
                    <a:pt x="51" y="8"/>
                    <a:pt x="52" y="9"/>
                    <a:pt x="52" y="10"/>
                  </a:cubicBezTo>
                  <a:cubicBezTo>
                    <a:pt x="52" y="11"/>
                    <a:pt x="51" y="12"/>
                    <a:pt x="5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9A16466D-7A43-4A0B-992F-95988550CB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0613" y="2163763"/>
              <a:ext cx="30163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pic>
        <p:nvPicPr>
          <p:cNvPr id="71" name="Graphic 70">
            <a:extLst>
              <a:ext uri="{FF2B5EF4-FFF2-40B4-BE49-F238E27FC236}">
                <a16:creationId xmlns:a16="http://schemas.microsoft.com/office/drawing/2014/main" id="{08A2F8A9-EA0C-46D0-9769-FEAE4752DA1C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718132" y="4818326"/>
            <a:ext cx="318542" cy="318542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382655C8-A553-40F8-B04B-68493D79EB3C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43086" y="3421799"/>
            <a:ext cx="347199" cy="17360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D795E6D3-D56F-4B3F-82C8-C357FE117523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859546" y="4067108"/>
            <a:ext cx="307983" cy="351981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1A114616-4FE1-406C-97AB-A47B0BC8A1B8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3803681" y="3331664"/>
            <a:ext cx="147446" cy="353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4887214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AC5B49-E3EB-4AF6-BCC2-E5C11CC1CF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err="1"/>
              <a:t>Thank</a:t>
            </a:r>
            <a:r>
              <a:rPr lang="da-DK" dirty="0"/>
              <a:t> </a:t>
            </a:r>
            <a:r>
              <a:rPr lang="da-DK" dirty="0" err="1"/>
              <a:t>you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8C74A48-1CE5-420C-ACC9-88415F75E644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727862" y="3645024"/>
            <a:ext cx="2703842" cy="1728192"/>
          </a:xfrm>
        </p:spPr>
        <p:txBody>
          <a:bodyPr/>
          <a:lstStyle/>
          <a:p>
            <a:r>
              <a:rPr lang="en-GB" dirty="0"/>
              <a:t>Allan Knudsen</a:t>
            </a:r>
            <a:br>
              <a:rPr lang="en-GB" dirty="0"/>
            </a:br>
            <a:r>
              <a:rPr lang="en-GB" b="0" dirty="0"/>
              <a:t>+45 20 37 75 77</a:t>
            </a:r>
          </a:p>
          <a:p>
            <a:r>
              <a:rPr lang="en-GB" b="0" dirty="0"/>
              <a:t>alkn@mir-robots.com</a:t>
            </a:r>
            <a:br>
              <a:rPr lang="en-GB" dirty="0"/>
            </a:b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541343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Billede 20">
            <a:extLst>
              <a:ext uri="{FF2B5EF4-FFF2-40B4-BE49-F238E27FC236}">
                <a16:creationId xmlns:a16="http://schemas.microsoft.com/office/drawing/2014/main" id="{20A6F2FF-7D39-624E-BF9B-DABADD6B643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4777" y="1969620"/>
            <a:ext cx="3971394" cy="3971394"/>
          </a:xfrm>
          <a:prstGeom prst="rect">
            <a:avLst/>
          </a:prstGeom>
        </p:spPr>
      </p:pic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E0B18A8D-9CB1-7D4C-B1D2-7541BCC14E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00129" y="6534000"/>
            <a:ext cx="252000" cy="180000"/>
          </a:xfrm>
        </p:spPr>
        <p:txBody>
          <a:bodyPr/>
          <a:lstStyle/>
          <a:p>
            <a:fld id="{8471EAA7-3162-4B69-9563-88D5A3B75B98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36" name="Pladsholder til tekst 9">
            <a:extLst>
              <a:ext uri="{FF2B5EF4-FFF2-40B4-BE49-F238E27FC236}">
                <a16:creationId xmlns:a16="http://schemas.microsoft.com/office/drawing/2014/main" id="{C1907A42-7C17-9F4F-9E17-DDB0C696E582}"/>
              </a:ext>
            </a:extLst>
          </p:cNvPr>
          <p:cNvSpPr txBox="1">
            <a:spLocks/>
          </p:cNvSpPr>
          <p:nvPr/>
        </p:nvSpPr>
        <p:spPr>
          <a:xfrm>
            <a:off x="5447928" y="1864800"/>
            <a:ext cx="6048672" cy="68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378" rtl="0" eaLnBrk="1" latinLnBrk="0" hangingPunct="1">
              <a:lnSpc>
                <a:spcPts val="1300"/>
              </a:lnSpc>
              <a:spcBef>
                <a:spcPts val="0"/>
              </a:spcBef>
              <a:buClrTx/>
              <a:buSzPct val="75000"/>
              <a:buFontTx/>
              <a:buNone/>
              <a:defRPr lang="nn-NO" sz="1200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438" indent="-21590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4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9613" indent="-225425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4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2350" indent="-236538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4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100000"/>
              <a:buFont typeface="Arial" panose="020B0604020202020204" pitchFamily="34" charset="0"/>
              <a:buNone/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buSzPct val="100000"/>
            </a:pPr>
            <a:r>
              <a:rPr lang="da-DK" sz="2400" b="1" dirty="0" err="1">
                <a:solidFill>
                  <a:schemeClr val="accent2"/>
                </a:solidFill>
              </a:rPr>
              <a:t>Pressure</a:t>
            </a:r>
            <a:r>
              <a:rPr lang="da-DK" sz="2400" b="1" dirty="0">
                <a:solidFill>
                  <a:schemeClr val="accent2"/>
                </a:solidFill>
              </a:rPr>
              <a:t> </a:t>
            </a:r>
            <a:r>
              <a:rPr lang="da-DK" sz="2400" b="1" dirty="0" err="1">
                <a:solidFill>
                  <a:schemeClr val="accent2"/>
                </a:solidFill>
              </a:rPr>
              <a:t>increases</a:t>
            </a:r>
            <a:r>
              <a:rPr lang="da-DK" sz="2400" b="1" dirty="0">
                <a:solidFill>
                  <a:schemeClr val="accent2"/>
                </a:solidFill>
              </a:rPr>
              <a:t> to </a:t>
            </a:r>
            <a:r>
              <a:rPr lang="da-DK" sz="2400" b="1" dirty="0" err="1">
                <a:solidFill>
                  <a:schemeClr val="accent2"/>
                </a:solidFill>
              </a:rPr>
              <a:t>keep</a:t>
            </a:r>
            <a:r>
              <a:rPr lang="da-DK" sz="2400" b="1" dirty="0">
                <a:solidFill>
                  <a:schemeClr val="accent2"/>
                </a:solidFill>
              </a:rPr>
              <a:t> </a:t>
            </a:r>
          </a:p>
          <a:p>
            <a:pPr>
              <a:lnSpc>
                <a:spcPct val="90000"/>
              </a:lnSpc>
              <a:buSzPct val="100000"/>
            </a:pPr>
            <a:r>
              <a:rPr lang="da-DK" sz="2400" b="1" dirty="0" err="1">
                <a:solidFill>
                  <a:schemeClr val="accent2"/>
                </a:solidFill>
              </a:rPr>
              <a:t>production</a:t>
            </a:r>
            <a:r>
              <a:rPr lang="da-DK" sz="2400" b="1" dirty="0">
                <a:solidFill>
                  <a:schemeClr val="accent2"/>
                </a:solidFill>
              </a:rPr>
              <a:t> high and </a:t>
            </a:r>
            <a:r>
              <a:rPr lang="da-DK" sz="2400" b="1" dirty="0" err="1">
                <a:solidFill>
                  <a:schemeClr val="accent2"/>
                </a:solidFill>
              </a:rPr>
              <a:t>costs</a:t>
            </a:r>
            <a:r>
              <a:rPr lang="da-DK" sz="2400" b="1" dirty="0">
                <a:solidFill>
                  <a:schemeClr val="accent2"/>
                </a:solidFill>
              </a:rPr>
              <a:t> low</a:t>
            </a:r>
          </a:p>
          <a:p>
            <a:pPr>
              <a:lnSpc>
                <a:spcPct val="50000"/>
              </a:lnSpc>
              <a:buSzPct val="100000"/>
            </a:pPr>
            <a:endParaRPr lang="da-DK" sz="2400" b="1" dirty="0">
              <a:solidFill>
                <a:schemeClr val="accent2"/>
              </a:solidFill>
            </a:endParaRPr>
          </a:p>
          <a:p>
            <a:pPr marL="231775" indent="-231775">
              <a:lnSpc>
                <a:spcPct val="100000"/>
              </a:lnSpc>
              <a:buSzPct val="100000"/>
              <a:buBlip>
                <a:blip r:embed="rId5"/>
              </a:buBlip>
            </a:pPr>
            <a:r>
              <a:rPr lang="en-US" sz="2100" dirty="0">
                <a:solidFill>
                  <a:schemeClr val="accent2"/>
                </a:solidFill>
              </a:rPr>
              <a:t>Global competition</a:t>
            </a:r>
          </a:p>
          <a:p>
            <a:pPr marL="231775" indent="-231775">
              <a:lnSpc>
                <a:spcPct val="100000"/>
              </a:lnSpc>
              <a:buSzPct val="100000"/>
              <a:buBlip>
                <a:blip r:embed="rId5"/>
              </a:buBlip>
            </a:pPr>
            <a:r>
              <a:rPr lang="da-DK" sz="2100" dirty="0" err="1">
                <a:solidFill>
                  <a:schemeClr val="accent2"/>
                </a:solidFill>
              </a:rPr>
              <a:t>Complex</a:t>
            </a:r>
            <a:r>
              <a:rPr lang="da-DK" sz="2100" dirty="0">
                <a:solidFill>
                  <a:schemeClr val="accent2"/>
                </a:solidFill>
              </a:rPr>
              <a:t> </a:t>
            </a:r>
            <a:r>
              <a:rPr lang="da-DK" sz="2100" dirty="0" err="1">
                <a:solidFill>
                  <a:schemeClr val="accent2"/>
                </a:solidFill>
              </a:rPr>
              <a:t>supply</a:t>
            </a:r>
            <a:r>
              <a:rPr lang="da-DK" sz="2100" dirty="0">
                <a:solidFill>
                  <a:schemeClr val="accent2"/>
                </a:solidFill>
              </a:rPr>
              <a:t> </a:t>
            </a:r>
            <a:r>
              <a:rPr lang="da-DK" sz="2100" dirty="0" err="1">
                <a:solidFill>
                  <a:schemeClr val="accent2"/>
                </a:solidFill>
              </a:rPr>
              <a:t>chains</a:t>
            </a:r>
            <a:r>
              <a:rPr lang="da-DK" sz="2100" dirty="0">
                <a:solidFill>
                  <a:schemeClr val="accent2"/>
                </a:solidFill>
              </a:rPr>
              <a:t> </a:t>
            </a:r>
          </a:p>
          <a:p>
            <a:pPr marL="231775" indent="-231775">
              <a:lnSpc>
                <a:spcPct val="100000"/>
              </a:lnSpc>
              <a:buSzPct val="100000"/>
              <a:buBlip>
                <a:blip r:embed="rId5"/>
              </a:buBlip>
            </a:pPr>
            <a:r>
              <a:rPr lang="en-US" sz="2100" dirty="0">
                <a:solidFill>
                  <a:schemeClr val="accent2"/>
                </a:solidFill>
              </a:rPr>
              <a:t>Shortage of labor</a:t>
            </a:r>
          </a:p>
          <a:p>
            <a:pPr marL="231775" indent="-231775">
              <a:lnSpc>
                <a:spcPct val="100000"/>
              </a:lnSpc>
              <a:buSzPct val="100000"/>
              <a:buBlip>
                <a:blip r:embed="rId5"/>
              </a:buBlip>
            </a:pPr>
            <a:endParaRPr lang="en-US" sz="2100" dirty="0">
              <a:solidFill>
                <a:schemeClr val="accent2"/>
              </a:solidFill>
            </a:endParaRPr>
          </a:p>
          <a:p>
            <a:pPr>
              <a:lnSpc>
                <a:spcPct val="100000"/>
              </a:lnSpc>
            </a:pPr>
            <a:endParaRPr lang="da-DK" sz="1600" dirty="0">
              <a:solidFill>
                <a:schemeClr val="accent2"/>
              </a:solidFill>
            </a:endParaRPr>
          </a:p>
          <a:p>
            <a:pPr>
              <a:lnSpc>
                <a:spcPct val="100000"/>
              </a:lnSpc>
            </a:pPr>
            <a:endParaRPr lang="da-DK" sz="1600" dirty="0">
              <a:solidFill>
                <a:schemeClr val="accent2"/>
              </a:solidFill>
            </a:endParaRPr>
          </a:p>
          <a:p>
            <a:pPr>
              <a:lnSpc>
                <a:spcPct val="100000"/>
              </a:lnSpc>
            </a:pPr>
            <a:br>
              <a:rPr lang="da-DK" sz="1600" dirty="0">
                <a:solidFill>
                  <a:schemeClr val="accent2"/>
                </a:solidFill>
              </a:rPr>
            </a:br>
            <a:br>
              <a:rPr lang="da-DK" sz="1600" dirty="0">
                <a:solidFill>
                  <a:schemeClr val="accent2"/>
                </a:solidFill>
              </a:rPr>
            </a:br>
            <a:endParaRPr lang="da-DK" sz="1600" dirty="0">
              <a:solidFill>
                <a:schemeClr val="accent2"/>
              </a:solidFill>
            </a:endParaRP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3AE6F2A9-8B4C-B840-A5EB-1D72847D3B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228" y="936000"/>
            <a:ext cx="9444236" cy="576000"/>
          </a:xfrm>
        </p:spPr>
        <p:txBody>
          <a:bodyPr/>
          <a:lstStyle/>
          <a:p>
            <a:r>
              <a:rPr lang="da-DK"/>
              <a:t>Changing </a:t>
            </a:r>
            <a:r>
              <a:rPr lang="da-DK" b="1"/>
              <a:t>market demands</a:t>
            </a:r>
          </a:p>
        </p:txBody>
      </p:sp>
      <p:sp>
        <p:nvSpPr>
          <p:cNvPr id="11" name="Titel 14">
            <a:extLst>
              <a:ext uri="{FF2B5EF4-FFF2-40B4-BE49-F238E27FC236}">
                <a16:creationId xmlns:a16="http://schemas.microsoft.com/office/drawing/2014/main" id="{5A289E9A-D89A-1E4C-9F16-F58B953AE59D}"/>
              </a:ext>
            </a:extLst>
          </p:cNvPr>
          <p:cNvSpPr txBox="1">
            <a:spLocks/>
          </p:cNvSpPr>
          <p:nvPr/>
        </p:nvSpPr>
        <p:spPr>
          <a:xfrm>
            <a:off x="9211095" y="6093296"/>
            <a:ext cx="2965109" cy="18785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378" rtl="0" eaLnBrk="1" latinLnBrk="0" hangingPunct="1">
              <a:lnSpc>
                <a:spcPts val="4300"/>
              </a:lnSpc>
              <a:spcBef>
                <a:spcPct val="0"/>
              </a:spcBef>
              <a:buNone/>
              <a:defRPr lang="nn-NO" sz="4000" b="0" i="0" kern="1200" cap="none" spc="0" baseline="0" noProof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a-DK" sz="1200"/>
              <a:t>Source: MiR Report 2019 </a:t>
            </a:r>
          </a:p>
        </p:txBody>
      </p:sp>
      <p:sp>
        <p:nvSpPr>
          <p:cNvPr id="16" name="Rektangel 15">
            <a:hlinkClick r:id="" action="ppaction://noaction"/>
            <a:extLst>
              <a:ext uri="{FF2B5EF4-FFF2-40B4-BE49-F238E27FC236}">
                <a16:creationId xmlns:a16="http://schemas.microsoft.com/office/drawing/2014/main" id="{F0C03D43-B7A9-9F4E-87BD-0B7840E97167}"/>
              </a:ext>
            </a:extLst>
          </p:cNvPr>
          <p:cNvSpPr/>
          <p:nvPr/>
        </p:nvSpPr>
        <p:spPr>
          <a:xfrm>
            <a:off x="10920536" y="144000"/>
            <a:ext cx="1152128" cy="4766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5580C016-94EE-974F-9D87-F6EF7B0A1E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6049"/>
            <a:ext cx="65" cy="46929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95220" rIns="0" bIns="952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altLang="da-DK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Titel 14">
            <a:extLst>
              <a:ext uri="{FF2B5EF4-FFF2-40B4-BE49-F238E27FC236}">
                <a16:creationId xmlns:a16="http://schemas.microsoft.com/office/drawing/2014/main" id="{3CBE6E60-0705-B044-8B73-DAE281E83C2C}"/>
              </a:ext>
            </a:extLst>
          </p:cNvPr>
          <p:cNvSpPr txBox="1">
            <a:spLocks/>
          </p:cNvSpPr>
          <p:nvPr/>
        </p:nvSpPr>
        <p:spPr>
          <a:xfrm>
            <a:off x="884777" y="2776161"/>
            <a:ext cx="3971394" cy="117915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378" rtl="0" eaLnBrk="1" latinLnBrk="0" hangingPunct="1">
              <a:lnSpc>
                <a:spcPts val="4300"/>
              </a:lnSpc>
              <a:spcBef>
                <a:spcPct val="0"/>
              </a:spcBef>
              <a:buNone/>
              <a:defRPr lang="nn-NO" sz="4000" b="0" i="0" kern="1200" cap="none" spc="0" baseline="0" noProof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da-DK" sz="7600" b="1"/>
              <a:t>85%</a:t>
            </a:r>
          </a:p>
        </p:txBody>
      </p:sp>
      <p:sp>
        <p:nvSpPr>
          <p:cNvPr id="20" name="Pladsholder til tekst 9">
            <a:extLst>
              <a:ext uri="{FF2B5EF4-FFF2-40B4-BE49-F238E27FC236}">
                <a16:creationId xmlns:a16="http://schemas.microsoft.com/office/drawing/2014/main" id="{D31D1F72-B5E5-F841-999F-B69A94B21A67}"/>
              </a:ext>
            </a:extLst>
          </p:cNvPr>
          <p:cNvSpPr txBox="1">
            <a:spLocks/>
          </p:cNvSpPr>
          <p:nvPr/>
        </p:nvSpPr>
        <p:spPr>
          <a:xfrm>
            <a:off x="1766422" y="3789040"/>
            <a:ext cx="2208104" cy="6840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378" rtl="0" eaLnBrk="1" latinLnBrk="0" hangingPunct="1">
              <a:lnSpc>
                <a:spcPts val="1300"/>
              </a:lnSpc>
              <a:spcBef>
                <a:spcPts val="0"/>
              </a:spcBef>
              <a:buClrTx/>
              <a:buSzPct val="75000"/>
              <a:buFontTx/>
              <a:buNone/>
              <a:defRPr lang="nn-NO" sz="1200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438" indent="-21590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4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9613" indent="-225425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4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2350" indent="-236538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4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100000"/>
              <a:buFont typeface="Arial" panose="020B0604020202020204" pitchFamily="34" charset="0"/>
              <a:buNone/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buSzPct val="100000"/>
            </a:pPr>
            <a:r>
              <a:rPr lang="da-DK" sz="1800" b="1">
                <a:solidFill>
                  <a:schemeClr val="accent2"/>
                </a:solidFill>
              </a:rPr>
              <a:t>of business leaders find it difficult to keep </a:t>
            </a:r>
          </a:p>
          <a:p>
            <a:pPr algn="ctr">
              <a:lnSpc>
                <a:spcPct val="90000"/>
              </a:lnSpc>
              <a:buSzPct val="100000"/>
            </a:pPr>
            <a:r>
              <a:rPr lang="da-DK" sz="1800" b="1">
                <a:solidFill>
                  <a:schemeClr val="accent2"/>
                </a:solidFill>
              </a:rPr>
              <a:t>pace with changing market demands</a:t>
            </a:r>
          </a:p>
        </p:txBody>
      </p:sp>
    </p:spTree>
    <p:extLst>
      <p:ext uri="{BB962C8B-B14F-4D97-AF65-F5344CB8AC3E}">
        <p14:creationId xmlns:p14="http://schemas.microsoft.com/office/powerpoint/2010/main" val="93012190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E0B18A8D-9CB1-7D4C-B1D2-7541BCC14E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00129" y="6534000"/>
            <a:ext cx="252000" cy="180000"/>
          </a:xfrm>
        </p:spPr>
        <p:txBody>
          <a:bodyPr/>
          <a:lstStyle/>
          <a:p>
            <a:fld id="{8471EAA7-3162-4B69-9563-88D5A3B75B98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36" name="Pladsholder til tekst 9">
            <a:extLst>
              <a:ext uri="{FF2B5EF4-FFF2-40B4-BE49-F238E27FC236}">
                <a16:creationId xmlns:a16="http://schemas.microsoft.com/office/drawing/2014/main" id="{C1907A42-7C17-9F4F-9E17-DDB0C696E582}"/>
              </a:ext>
            </a:extLst>
          </p:cNvPr>
          <p:cNvSpPr txBox="1">
            <a:spLocks/>
          </p:cNvSpPr>
          <p:nvPr/>
        </p:nvSpPr>
        <p:spPr>
          <a:xfrm>
            <a:off x="828228" y="1864800"/>
            <a:ext cx="9012188" cy="68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378" rtl="0" eaLnBrk="1" latinLnBrk="0" hangingPunct="1">
              <a:lnSpc>
                <a:spcPts val="1300"/>
              </a:lnSpc>
              <a:spcBef>
                <a:spcPts val="0"/>
              </a:spcBef>
              <a:buClrTx/>
              <a:buSzPct val="75000"/>
              <a:buFontTx/>
              <a:buNone/>
              <a:defRPr lang="nn-NO" sz="1200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438" indent="-21590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9613" indent="-225425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2350" indent="-236538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100000"/>
              <a:buFont typeface="Arial" panose="020B0604020202020204" pitchFamily="34" charset="0"/>
              <a:buNone/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buSzPct val="100000"/>
            </a:pPr>
            <a:r>
              <a:rPr lang="da-DK" sz="2100" b="1">
                <a:solidFill>
                  <a:schemeClr val="accent2"/>
                </a:solidFill>
              </a:rPr>
              <a:t>Companies perceived risks to economic development (%)</a:t>
            </a:r>
            <a:endParaRPr lang="da-DK" sz="2100">
              <a:solidFill>
                <a:schemeClr val="accent2"/>
              </a:solidFill>
            </a:endParaRPr>
          </a:p>
        </p:txBody>
      </p:sp>
      <p:sp>
        <p:nvSpPr>
          <p:cNvPr id="11" name="Titel 14">
            <a:extLst>
              <a:ext uri="{FF2B5EF4-FFF2-40B4-BE49-F238E27FC236}">
                <a16:creationId xmlns:a16="http://schemas.microsoft.com/office/drawing/2014/main" id="{5A289E9A-D89A-1E4C-9F16-F58B953AE59D}"/>
              </a:ext>
            </a:extLst>
          </p:cNvPr>
          <p:cNvSpPr txBox="1">
            <a:spLocks/>
          </p:cNvSpPr>
          <p:nvPr/>
        </p:nvSpPr>
        <p:spPr>
          <a:xfrm>
            <a:off x="9211095" y="5912023"/>
            <a:ext cx="2965109" cy="18785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378" rtl="0" eaLnBrk="1" latinLnBrk="0" hangingPunct="1">
              <a:lnSpc>
                <a:spcPts val="4300"/>
              </a:lnSpc>
              <a:spcBef>
                <a:spcPct val="0"/>
              </a:spcBef>
              <a:buNone/>
              <a:defRPr lang="nn-NO" sz="4000" b="0" i="0" kern="1200" cap="none" spc="0" baseline="0" noProof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a-DK" sz="1200"/>
              <a:t>Source: </a:t>
            </a:r>
          </a:p>
          <a:p>
            <a:pPr>
              <a:lnSpc>
                <a:spcPct val="100000"/>
              </a:lnSpc>
            </a:pPr>
            <a:r>
              <a:rPr lang="da-DK" sz="1200"/>
              <a:t>DIHK; Destatis, US Census Bureau, 2019</a:t>
            </a:r>
          </a:p>
        </p:txBody>
      </p:sp>
      <p:sp>
        <p:nvSpPr>
          <p:cNvPr id="16" name="Rektangel 15">
            <a:hlinkClick r:id="" action="ppaction://noaction"/>
            <a:extLst>
              <a:ext uri="{FF2B5EF4-FFF2-40B4-BE49-F238E27FC236}">
                <a16:creationId xmlns:a16="http://schemas.microsoft.com/office/drawing/2014/main" id="{F0C03D43-B7A9-9F4E-87BD-0B7840E97167}"/>
              </a:ext>
            </a:extLst>
          </p:cNvPr>
          <p:cNvSpPr/>
          <p:nvPr/>
        </p:nvSpPr>
        <p:spPr>
          <a:xfrm>
            <a:off x="10920536" y="144000"/>
            <a:ext cx="1152128" cy="4766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5580C016-94EE-974F-9D87-F6EF7B0A1E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6049"/>
            <a:ext cx="65" cy="46929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95220" rIns="0" bIns="952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altLang="da-DK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19" name="Lige forbindelse 18">
            <a:extLst>
              <a:ext uri="{FF2B5EF4-FFF2-40B4-BE49-F238E27FC236}">
                <a16:creationId xmlns:a16="http://schemas.microsoft.com/office/drawing/2014/main" id="{3726F356-1F2A-2F41-9046-DF20B2FAF3D7}"/>
              </a:ext>
            </a:extLst>
          </p:cNvPr>
          <p:cNvCxnSpPr>
            <a:cxnSpLocks/>
          </p:cNvCxnSpPr>
          <p:nvPr/>
        </p:nvCxnSpPr>
        <p:spPr>
          <a:xfrm flipV="1">
            <a:off x="1149033" y="3121651"/>
            <a:ext cx="7787341" cy="0"/>
          </a:xfrm>
          <a:prstGeom prst="line">
            <a:avLst/>
          </a:prstGeom>
          <a:ln w="12700">
            <a:solidFill>
              <a:srgbClr val="A0AC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Lige forbindelse 21">
            <a:extLst>
              <a:ext uri="{FF2B5EF4-FFF2-40B4-BE49-F238E27FC236}">
                <a16:creationId xmlns:a16="http://schemas.microsoft.com/office/drawing/2014/main" id="{653E855E-3EE8-F447-AAF0-C13A8EB07B70}"/>
              </a:ext>
            </a:extLst>
          </p:cNvPr>
          <p:cNvCxnSpPr>
            <a:cxnSpLocks/>
          </p:cNvCxnSpPr>
          <p:nvPr/>
        </p:nvCxnSpPr>
        <p:spPr>
          <a:xfrm flipV="1">
            <a:off x="1149033" y="3628189"/>
            <a:ext cx="7787341" cy="0"/>
          </a:xfrm>
          <a:prstGeom prst="line">
            <a:avLst/>
          </a:prstGeom>
          <a:ln w="12700">
            <a:solidFill>
              <a:srgbClr val="A0AC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Lige forbindelse 23">
            <a:extLst>
              <a:ext uri="{FF2B5EF4-FFF2-40B4-BE49-F238E27FC236}">
                <a16:creationId xmlns:a16="http://schemas.microsoft.com/office/drawing/2014/main" id="{A380CF30-6670-5241-B5CB-DBCDFCD38159}"/>
              </a:ext>
            </a:extLst>
          </p:cNvPr>
          <p:cNvCxnSpPr>
            <a:cxnSpLocks/>
          </p:cNvCxnSpPr>
          <p:nvPr/>
        </p:nvCxnSpPr>
        <p:spPr>
          <a:xfrm flipV="1">
            <a:off x="1149033" y="4136189"/>
            <a:ext cx="7787341" cy="0"/>
          </a:xfrm>
          <a:prstGeom prst="line">
            <a:avLst/>
          </a:prstGeom>
          <a:ln w="12700">
            <a:solidFill>
              <a:srgbClr val="A0AC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Lige forbindelse 25">
            <a:extLst>
              <a:ext uri="{FF2B5EF4-FFF2-40B4-BE49-F238E27FC236}">
                <a16:creationId xmlns:a16="http://schemas.microsoft.com/office/drawing/2014/main" id="{9B94D6B9-B151-5C44-B473-81EF0409B505}"/>
              </a:ext>
            </a:extLst>
          </p:cNvPr>
          <p:cNvCxnSpPr>
            <a:cxnSpLocks/>
          </p:cNvCxnSpPr>
          <p:nvPr/>
        </p:nvCxnSpPr>
        <p:spPr>
          <a:xfrm flipV="1">
            <a:off x="1149033" y="4634953"/>
            <a:ext cx="7787341" cy="0"/>
          </a:xfrm>
          <a:prstGeom prst="line">
            <a:avLst/>
          </a:prstGeom>
          <a:ln w="12700">
            <a:solidFill>
              <a:srgbClr val="A0AC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Lige forbindelse 27">
            <a:extLst>
              <a:ext uri="{FF2B5EF4-FFF2-40B4-BE49-F238E27FC236}">
                <a16:creationId xmlns:a16="http://schemas.microsoft.com/office/drawing/2014/main" id="{0773398A-A1D3-844A-82C2-58E45D6DB122}"/>
              </a:ext>
            </a:extLst>
          </p:cNvPr>
          <p:cNvCxnSpPr>
            <a:cxnSpLocks/>
          </p:cNvCxnSpPr>
          <p:nvPr/>
        </p:nvCxnSpPr>
        <p:spPr>
          <a:xfrm flipV="1">
            <a:off x="1149033" y="5142953"/>
            <a:ext cx="7787341" cy="0"/>
          </a:xfrm>
          <a:prstGeom prst="line">
            <a:avLst/>
          </a:prstGeom>
          <a:ln w="12700">
            <a:solidFill>
              <a:srgbClr val="A0AC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Lige forbindelse 29">
            <a:extLst>
              <a:ext uri="{FF2B5EF4-FFF2-40B4-BE49-F238E27FC236}">
                <a16:creationId xmlns:a16="http://schemas.microsoft.com/office/drawing/2014/main" id="{89DCBBB4-DEF2-0744-99A5-C953EEA699EA}"/>
              </a:ext>
            </a:extLst>
          </p:cNvPr>
          <p:cNvCxnSpPr>
            <a:cxnSpLocks/>
          </p:cNvCxnSpPr>
          <p:nvPr/>
        </p:nvCxnSpPr>
        <p:spPr>
          <a:xfrm flipV="1">
            <a:off x="1149033" y="5650953"/>
            <a:ext cx="7787341" cy="0"/>
          </a:xfrm>
          <a:prstGeom prst="line">
            <a:avLst/>
          </a:prstGeom>
          <a:ln w="12700">
            <a:solidFill>
              <a:srgbClr val="A0AC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Pladsholder til tekst 9">
            <a:extLst>
              <a:ext uri="{FF2B5EF4-FFF2-40B4-BE49-F238E27FC236}">
                <a16:creationId xmlns:a16="http://schemas.microsoft.com/office/drawing/2014/main" id="{4A6DBFAE-57F7-8641-BD3E-128AD52412F6}"/>
              </a:ext>
            </a:extLst>
          </p:cNvPr>
          <p:cNvSpPr txBox="1">
            <a:spLocks/>
          </p:cNvSpPr>
          <p:nvPr/>
        </p:nvSpPr>
        <p:spPr>
          <a:xfrm>
            <a:off x="428953" y="2983149"/>
            <a:ext cx="655833" cy="3700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378" rtl="0" eaLnBrk="1" latinLnBrk="0" hangingPunct="1">
              <a:lnSpc>
                <a:spcPts val="1300"/>
              </a:lnSpc>
              <a:spcBef>
                <a:spcPts val="0"/>
              </a:spcBef>
              <a:buClrTx/>
              <a:buSzPct val="75000"/>
              <a:buFontTx/>
              <a:buNone/>
              <a:defRPr lang="nn-NO" sz="1200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438" indent="-21590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9613" indent="-225425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2350" indent="-236538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100000"/>
              <a:buFont typeface="Arial" panose="020B0604020202020204" pitchFamily="34" charset="0"/>
              <a:buNone/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90000"/>
              </a:lnSpc>
              <a:buSzPct val="100000"/>
            </a:pPr>
            <a:r>
              <a:rPr lang="da-DK" sz="1800">
                <a:solidFill>
                  <a:srgbClr val="8C9B93"/>
                </a:solidFill>
              </a:rPr>
              <a:t>50</a:t>
            </a:r>
          </a:p>
          <a:p>
            <a:pPr algn="r">
              <a:lnSpc>
                <a:spcPct val="90000"/>
              </a:lnSpc>
              <a:buSzPct val="100000"/>
            </a:pPr>
            <a:endParaRPr lang="da-DK" sz="1800">
              <a:solidFill>
                <a:srgbClr val="8C9B93"/>
              </a:solidFill>
            </a:endParaRPr>
          </a:p>
        </p:txBody>
      </p:sp>
      <p:sp>
        <p:nvSpPr>
          <p:cNvPr id="55" name="Pladsholder til tekst 9">
            <a:extLst>
              <a:ext uri="{FF2B5EF4-FFF2-40B4-BE49-F238E27FC236}">
                <a16:creationId xmlns:a16="http://schemas.microsoft.com/office/drawing/2014/main" id="{9DE137A9-8E0D-D940-A57C-C9CA2E7A9EE8}"/>
              </a:ext>
            </a:extLst>
          </p:cNvPr>
          <p:cNvSpPr txBox="1">
            <a:spLocks/>
          </p:cNvSpPr>
          <p:nvPr/>
        </p:nvSpPr>
        <p:spPr>
          <a:xfrm>
            <a:off x="428953" y="3502133"/>
            <a:ext cx="655833" cy="3700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378" rtl="0" eaLnBrk="1" latinLnBrk="0" hangingPunct="1">
              <a:lnSpc>
                <a:spcPts val="1300"/>
              </a:lnSpc>
              <a:spcBef>
                <a:spcPts val="0"/>
              </a:spcBef>
              <a:buClrTx/>
              <a:buSzPct val="75000"/>
              <a:buFontTx/>
              <a:buNone/>
              <a:defRPr lang="nn-NO" sz="1200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438" indent="-21590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9613" indent="-225425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2350" indent="-236538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100000"/>
              <a:buFont typeface="Arial" panose="020B0604020202020204" pitchFamily="34" charset="0"/>
              <a:buNone/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90000"/>
              </a:lnSpc>
              <a:buSzPct val="100000"/>
            </a:pPr>
            <a:r>
              <a:rPr lang="da-DK" sz="1800">
                <a:solidFill>
                  <a:srgbClr val="8C9B93"/>
                </a:solidFill>
              </a:rPr>
              <a:t>40</a:t>
            </a:r>
          </a:p>
          <a:p>
            <a:pPr algn="r">
              <a:lnSpc>
                <a:spcPct val="90000"/>
              </a:lnSpc>
              <a:buSzPct val="100000"/>
            </a:pPr>
            <a:endParaRPr lang="da-DK" sz="1800">
              <a:solidFill>
                <a:srgbClr val="8C9B93"/>
              </a:solidFill>
            </a:endParaRPr>
          </a:p>
        </p:txBody>
      </p:sp>
      <p:sp>
        <p:nvSpPr>
          <p:cNvPr id="56" name="Pladsholder til tekst 9">
            <a:extLst>
              <a:ext uri="{FF2B5EF4-FFF2-40B4-BE49-F238E27FC236}">
                <a16:creationId xmlns:a16="http://schemas.microsoft.com/office/drawing/2014/main" id="{25174572-19A3-864C-9A32-EB79FA3EA670}"/>
              </a:ext>
            </a:extLst>
          </p:cNvPr>
          <p:cNvSpPr txBox="1">
            <a:spLocks/>
          </p:cNvSpPr>
          <p:nvPr/>
        </p:nvSpPr>
        <p:spPr>
          <a:xfrm>
            <a:off x="428953" y="4008760"/>
            <a:ext cx="655833" cy="3700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378" rtl="0" eaLnBrk="1" latinLnBrk="0" hangingPunct="1">
              <a:lnSpc>
                <a:spcPts val="1300"/>
              </a:lnSpc>
              <a:spcBef>
                <a:spcPts val="0"/>
              </a:spcBef>
              <a:buClrTx/>
              <a:buSzPct val="75000"/>
              <a:buFontTx/>
              <a:buNone/>
              <a:defRPr lang="nn-NO" sz="1200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438" indent="-21590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9613" indent="-225425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2350" indent="-236538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100000"/>
              <a:buFont typeface="Arial" panose="020B0604020202020204" pitchFamily="34" charset="0"/>
              <a:buNone/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90000"/>
              </a:lnSpc>
              <a:buSzPct val="100000"/>
            </a:pPr>
            <a:r>
              <a:rPr lang="da-DK" sz="1800">
                <a:solidFill>
                  <a:srgbClr val="8C9B93"/>
                </a:solidFill>
              </a:rPr>
              <a:t>30</a:t>
            </a:r>
          </a:p>
          <a:p>
            <a:pPr algn="r">
              <a:lnSpc>
                <a:spcPct val="90000"/>
              </a:lnSpc>
              <a:buSzPct val="100000"/>
            </a:pPr>
            <a:endParaRPr lang="da-DK" sz="1800">
              <a:solidFill>
                <a:srgbClr val="8C9B93"/>
              </a:solidFill>
            </a:endParaRPr>
          </a:p>
        </p:txBody>
      </p:sp>
      <p:sp>
        <p:nvSpPr>
          <p:cNvPr id="57" name="Pladsholder til tekst 9">
            <a:extLst>
              <a:ext uri="{FF2B5EF4-FFF2-40B4-BE49-F238E27FC236}">
                <a16:creationId xmlns:a16="http://schemas.microsoft.com/office/drawing/2014/main" id="{9F9968C0-893D-E946-A0C3-212BDFFA772C}"/>
              </a:ext>
            </a:extLst>
          </p:cNvPr>
          <p:cNvSpPr txBox="1">
            <a:spLocks/>
          </p:cNvSpPr>
          <p:nvPr/>
        </p:nvSpPr>
        <p:spPr>
          <a:xfrm>
            <a:off x="428953" y="4503030"/>
            <a:ext cx="655833" cy="3700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378" rtl="0" eaLnBrk="1" latinLnBrk="0" hangingPunct="1">
              <a:lnSpc>
                <a:spcPts val="1300"/>
              </a:lnSpc>
              <a:spcBef>
                <a:spcPts val="0"/>
              </a:spcBef>
              <a:buClrTx/>
              <a:buSzPct val="75000"/>
              <a:buFontTx/>
              <a:buNone/>
              <a:defRPr lang="nn-NO" sz="1200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438" indent="-21590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9613" indent="-225425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2350" indent="-236538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100000"/>
              <a:buFont typeface="Arial" panose="020B0604020202020204" pitchFamily="34" charset="0"/>
              <a:buNone/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90000"/>
              </a:lnSpc>
              <a:buSzPct val="100000"/>
            </a:pPr>
            <a:r>
              <a:rPr lang="da-DK" sz="1800">
                <a:solidFill>
                  <a:srgbClr val="8C9B93"/>
                </a:solidFill>
              </a:rPr>
              <a:t>20</a:t>
            </a:r>
          </a:p>
          <a:p>
            <a:pPr algn="r">
              <a:lnSpc>
                <a:spcPct val="90000"/>
              </a:lnSpc>
              <a:buSzPct val="100000"/>
            </a:pPr>
            <a:endParaRPr lang="da-DK" sz="1800">
              <a:solidFill>
                <a:srgbClr val="8C9B93"/>
              </a:solidFill>
            </a:endParaRPr>
          </a:p>
        </p:txBody>
      </p:sp>
      <p:sp>
        <p:nvSpPr>
          <p:cNvPr id="58" name="Pladsholder til tekst 9">
            <a:extLst>
              <a:ext uri="{FF2B5EF4-FFF2-40B4-BE49-F238E27FC236}">
                <a16:creationId xmlns:a16="http://schemas.microsoft.com/office/drawing/2014/main" id="{8D317E34-7B9A-FA4A-8711-9C6E3A10925A}"/>
              </a:ext>
            </a:extLst>
          </p:cNvPr>
          <p:cNvSpPr txBox="1">
            <a:spLocks/>
          </p:cNvSpPr>
          <p:nvPr/>
        </p:nvSpPr>
        <p:spPr>
          <a:xfrm>
            <a:off x="428953" y="5015836"/>
            <a:ext cx="655833" cy="3700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378" rtl="0" eaLnBrk="1" latinLnBrk="0" hangingPunct="1">
              <a:lnSpc>
                <a:spcPts val="1300"/>
              </a:lnSpc>
              <a:spcBef>
                <a:spcPts val="0"/>
              </a:spcBef>
              <a:buClrTx/>
              <a:buSzPct val="75000"/>
              <a:buFontTx/>
              <a:buNone/>
              <a:defRPr lang="nn-NO" sz="1200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438" indent="-21590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9613" indent="-225425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2350" indent="-236538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100000"/>
              <a:buFont typeface="Arial" panose="020B0604020202020204" pitchFamily="34" charset="0"/>
              <a:buNone/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90000"/>
              </a:lnSpc>
              <a:buSzPct val="100000"/>
            </a:pPr>
            <a:r>
              <a:rPr lang="da-DK" sz="1800">
                <a:solidFill>
                  <a:srgbClr val="8C9B93"/>
                </a:solidFill>
              </a:rPr>
              <a:t>10</a:t>
            </a:r>
          </a:p>
          <a:p>
            <a:pPr algn="r">
              <a:lnSpc>
                <a:spcPct val="90000"/>
              </a:lnSpc>
              <a:buSzPct val="100000"/>
            </a:pPr>
            <a:endParaRPr lang="da-DK" sz="1800">
              <a:solidFill>
                <a:srgbClr val="8C9B93"/>
              </a:solidFill>
            </a:endParaRPr>
          </a:p>
        </p:txBody>
      </p:sp>
      <p:sp>
        <p:nvSpPr>
          <p:cNvPr id="59" name="Pladsholder til tekst 9">
            <a:extLst>
              <a:ext uri="{FF2B5EF4-FFF2-40B4-BE49-F238E27FC236}">
                <a16:creationId xmlns:a16="http://schemas.microsoft.com/office/drawing/2014/main" id="{69D154AA-966A-FA4C-BFB0-B60F74C70F96}"/>
              </a:ext>
            </a:extLst>
          </p:cNvPr>
          <p:cNvSpPr txBox="1">
            <a:spLocks/>
          </p:cNvSpPr>
          <p:nvPr/>
        </p:nvSpPr>
        <p:spPr>
          <a:xfrm>
            <a:off x="428953" y="5522463"/>
            <a:ext cx="655833" cy="3700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378" rtl="0" eaLnBrk="1" latinLnBrk="0" hangingPunct="1">
              <a:lnSpc>
                <a:spcPts val="1300"/>
              </a:lnSpc>
              <a:spcBef>
                <a:spcPts val="0"/>
              </a:spcBef>
              <a:buClrTx/>
              <a:buSzPct val="75000"/>
              <a:buFontTx/>
              <a:buNone/>
              <a:defRPr lang="nn-NO" sz="1200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438" indent="-21590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9613" indent="-225425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2350" indent="-236538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100000"/>
              <a:buFont typeface="Arial" panose="020B0604020202020204" pitchFamily="34" charset="0"/>
              <a:buNone/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90000"/>
              </a:lnSpc>
              <a:buSzPct val="100000"/>
            </a:pPr>
            <a:r>
              <a:rPr lang="da-DK" sz="1800">
                <a:solidFill>
                  <a:srgbClr val="8C9B93"/>
                </a:solidFill>
              </a:rPr>
              <a:t>0</a:t>
            </a:r>
          </a:p>
          <a:p>
            <a:pPr algn="r">
              <a:lnSpc>
                <a:spcPct val="90000"/>
              </a:lnSpc>
              <a:buSzPct val="100000"/>
            </a:pPr>
            <a:endParaRPr lang="da-DK" sz="1800">
              <a:solidFill>
                <a:srgbClr val="8C9B93"/>
              </a:solidFill>
            </a:endParaRPr>
          </a:p>
        </p:txBody>
      </p:sp>
      <p:sp>
        <p:nvSpPr>
          <p:cNvPr id="87" name="Pladsholder til tekst 9">
            <a:extLst>
              <a:ext uri="{FF2B5EF4-FFF2-40B4-BE49-F238E27FC236}">
                <a16:creationId xmlns:a16="http://schemas.microsoft.com/office/drawing/2014/main" id="{A63167B2-049A-E645-A4E0-00F430448D0F}"/>
              </a:ext>
            </a:extLst>
          </p:cNvPr>
          <p:cNvSpPr txBox="1">
            <a:spLocks/>
          </p:cNvSpPr>
          <p:nvPr/>
        </p:nvSpPr>
        <p:spPr>
          <a:xfrm>
            <a:off x="1346711" y="5745534"/>
            <a:ext cx="715466" cy="3700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378" rtl="0" eaLnBrk="1" latinLnBrk="0" hangingPunct="1">
              <a:lnSpc>
                <a:spcPts val="1300"/>
              </a:lnSpc>
              <a:spcBef>
                <a:spcPts val="0"/>
              </a:spcBef>
              <a:buClrTx/>
              <a:buSzPct val="75000"/>
              <a:buFontTx/>
              <a:buNone/>
              <a:defRPr lang="nn-NO" sz="1200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438" indent="-21590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9613" indent="-225425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2350" indent="-236538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100000"/>
              <a:buFont typeface="Arial" panose="020B0604020202020204" pitchFamily="34" charset="0"/>
              <a:buNone/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buSzPct val="100000"/>
            </a:pPr>
            <a:r>
              <a:rPr lang="da-DK" sz="1800">
                <a:solidFill>
                  <a:srgbClr val="8C9B93"/>
                </a:solidFill>
              </a:rPr>
              <a:t>2010</a:t>
            </a:r>
          </a:p>
        </p:txBody>
      </p:sp>
      <p:sp>
        <p:nvSpPr>
          <p:cNvPr id="89" name="Pladsholder til tekst 9">
            <a:extLst>
              <a:ext uri="{FF2B5EF4-FFF2-40B4-BE49-F238E27FC236}">
                <a16:creationId xmlns:a16="http://schemas.microsoft.com/office/drawing/2014/main" id="{9CB9B5B3-F606-4B49-AB93-F445783C763E}"/>
              </a:ext>
            </a:extLst>
          </p:cNvPr>
          <p:cNvSpPr txBox="1">
            <a:spLocks/>
          </p:cNvSpPr>
          <p:nvPr/>
        </p:nvSpPr>
        <p:spPr>
          <a:xfrm>
            <a:off x="2103915" y="5745534"/>
            <a:ext cx="723146" cy="3700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378" rtl="0" eaLnBrk="1" latinLnBrk="0" hangingPunct="1">
              <a:lnSpc>
                <a:spcPts val="1300"/>
              </a:lnSpc>
              <a:spcBef>
                <a:spcPts val="0"/>
              </a:spcBef>
              <a:buClrTx/>
              <a:buSzPct val="75000"/>
              <a:buFontTx/>
              <a:buNone/>
              <a:defRPr lang="nn-NO" sz="1200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438" indent="-21590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9613" indent="-225425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2350" indent="-236538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100000"/>
              <a:buFont typeface="Arial" panose="020B0604020202020204" pitchFamily="34" charset="0"/>
              <a:buNone/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buSzPct val="100000"/>
            </a:pPr>
            <a:r>
              <a:rPr lang="da-DK" sz="1800">
                <a:solidFill>
                  <a:srgbClr val="8C9B93"/>
                </a:solidFill>
              </a:rPr>
              <a:t>2011</a:t>
            </a:r>
          </a:p>
        </p:txBody>
      </p:sp>
      <p:sp>
        <p:nvSpPr>
          <p:cNvPr id="91" name="Pladsholder til tekst 9">
            <a:extLst>
              <a:ext uri="{FF2B5EF4-FFF2-40B4-BE49-F238E27FC236}">
                <a16:creationId xmlns:a16="http://schemas.microsoft.com/office/drawing/2014/main" id="{890F6411-DBBF-0F40-BB92-6B7A0C3D9542}"/>
              </a:ext>
            </a:extLst>
          </p:cNvPr>
          <p:cNvSpPr txBox="1">
            <a:spLocks/>
          </p:cNvSpPr>
          <p:nvPr/>
        </p:nvSpPr>
        <p:spPr>
          <a:xfrm>
            <a:off x="3620983" y="5745534"/>
            <a:ext cx="720000" cy="3700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378" rtl="0" eaLnBrk="1" latinLnBrk="0" hangingPunct="1">
              <a:lnSpc>
                <a:spcPts val="1300"/>
              </a:lnSpc>
              <a:spcBef>
                <a:spcPts val="0"/>
              </a:spcBef>
              <a:buClrTx/>
              <a:buSzPct val="75000"/>
              <a:buFontTx/>
              <a:buNone/>
              <a:defRPr lang="nn-NO" sz="1200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438" indent="-21590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9613" indent="-225425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2350" indent="-236538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100000"/>
              <a:buFont typeface="Arial" panose="020B0604020202020204" pitchFamily="34" charset="0"/>
              <a:buNone/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buSzPct val="100000"/>
            </a:pPr>
            <a:r>
              <a:rPr lang="da-DK" sz="1800">
                <a:solidFill>
                  <a:srgbClr val="8C9B93"/>
                </a:solidFill>
              </a:rPr>
              <a:t>2013</a:t>
            </a:r>
          </a:p>
        </p:txBody>
      </p:sp>
      <p:sp>
        <p:nvSpPr>
          <p:cNvPr id="112" name="Titel 14">
            <a:extLst>
              <a:ext uri="{FF2B5EF4-FFF2-40B4-BE49-F238E27FC236}">
                <a16:creationId xmlns:a16="http://schemas.microsoft.com/office/drawing/2014/main" id="{599B90CE-930B-E948-AD8F-C0B4F502D009}"/>
              </a:ext>
            </a:extLst>
          </p:cNvPr>
          <p:cNvSpPr txBox="1">
            <a:spLocks/>
          </p:cNvSpPr>
          <p:nvPr/>
        </p:nvSpPr>
        <p:spPr>
          <a:xfrm>
            <a:off x="828228" y="936000"/>
            <a:ext cx="9444236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378" rtl="0" eaLnBrk="1" latinLnBrk="0" hangingPunct="1">
              <a:lnSpc>
                <a:spcPts val="4300"/>
              </a:lnSpc>
              <a:spcBef>
                <a:spcPct val="0"/>
              </a:spcBef>
              <a:buNone/>
              <a:defRPr lang="nn-NO" sz="4000" b="0" i="0" kern="1200" cap="none" spc="0" baseline="0" noProof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b="1"/>
              <a:t>Main drivers for automating</a:t>
            </a:r>
            <a:endParaRPr lang="da-DK"/>
          </a:p>
        </p:txBody>
      </p:sp>
      <p:cxnSp>
        <p:nvCxnSpPr>
          <p:cNvPr id="46" name="Lige forbindelse 45">
            <a:extLst>
              <a:ext uri="{FF2B5EF4-FFF2-40B4-BE49-F238E27FC236}">
                <a16:creationId xmlns:a16="http://schemas.microsoft.com/office/drawing/2014/main" id="{6CE49857-AACC-B04E-B033-F1777DA176F6}"/>
              </a:ext>
            </a:extLst>
          </p:cNvPr>
          <p:cNvCxnSpPr>
            <a:cxnSpLocks/>
          </p:cNvCxnSpPr>
          <p:nvPr/>
        </p:nvCxnSpPr>
        <p:spPr>
          <a:xfrm flipV="1">
            <a:off x="1149033" y="2618731"/>
            <a:ext cx="7787341" cy="0"/>
          </a:xfrm>
          <a:prstGeom prst="line">
            <a:avLst/>
          </a:prstGeom>
          <a:ln w="12700">
            <a:solidFill>
              <a:srgbClr val="A0AC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Pladsholder til tekst 9">
            <a:extLst>
              <a:ext uri="{FF2B5EF4-FFF2-40B4-BE49-F238E27FC236}">
                <a16:creationId xmlns:a16="http://schemas.microsoft.com/office/drawing/2014/main" id="{E7E45215-4BE4-854D-B971-4F8DC67639E8}"/>
              </a:ext>
            </a:extLst>
          </p:cNvPr>
          <p:cNvSpPr txBox="1">
            <a:spLocks/>
          </p:cNvSpPr>
          <p:nvPr/>
        </p:nvSpPr>
        <p:spPr>
          <a:xfrm>
            <a:off x="428953" y="2480229"/>
            <a:ext cx="655833" cy="3700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378" rtl="0" eaLnBrk="1" latinLnBrk="0" hangingPunct="1">
              <a:lnSpc>
                <a:spcPts val="1300"/>
              </a:lnSpc>
              <a:spcBef>
                <a:spcPts val="0"/>
              </a:spcBef>
              <a:buClrTx/>
              <a:buSzPct val="75000"/>
              <a:buFontTx/>
              <a:buNone/>
              <a:defRPr lang="nn-NO" sz="1200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438" indent="-21590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9613" indent="-225425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2350" indent="-236538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100000"/>
              <a:buFont typeface="Arial" panose="020B0604020202020204" pitchFamily="34" charset="0"/>
              <a:buNone/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90000"/>
              </a:lnSpc>
              <a:buSzPct val="100000"/>
            </a:pPr>
            <a:r>
              <a:rPr lang="da-DK" sz="1800">
                <a:solidFill>
                  <a:srgbClr val="8C9B93"/>
                </a:solidFill>
              </a:rPr>
              <a:t>60</a:t>
            </a:r>
          </a:p>
          <a:p>
            <a:pPr algn="r">
              <a:lnSpc>
                <a:spcPct val="90000"/>
              </a:lnSpc>
              <a:buSzPct val="100000"/>
            </a:pPr>
            <a:endParaRPr lang="da-DK" sz="1800">
              <a:solidFill>
                <a:srgbClr val="8C9B93"/>
              </a:solidFill>
            </a:endParaRPr>
          </a:p>
        </p:txBody>
      </p:sp>
      <p:sp>
        <p:nvSpPr>
          <p:cNvPr id="65" name="Pladsholder til tekst 9">
            <a:extLst>
              <a:ext uri="{FF2B5EF4-FFF2-40B4-BE49-F238E27FC236}">
                <a16:creationId xmlns:a16="http://schemas.microsoft.com/office/drawing/2014/main" id="{6321FAED-3E7E-9043-9608-8D07234B7096}"/>
              </a:ext>
            </a:extLst>
          </p:cNvPr>
          <p:cNvSpPr txBox="1">
            <a:spLocks/>
          </p:cNvSpPr>
          <p:nvPr/>
        </p:nvSpPr>
        <p:spPr>
          <a:xfrm>
            <a:off x="2867725" y="5745534"/>
            <a:ext cx="708860" cy="3700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378" rtl="0" eaLnBrk="1" latinLnBrk="0" hangingPunct="1">
              <a:lnSpc>
                <a:spcPts val="1300"/>
              </a:lnSpc>
              <a:spcBef>
                <a:spcPts val="0"/>
              </a:spcBef>
              <a:buClrTx/>
              <a:buSzPct val="75000"/>
              <a:buFontTx/>
              <a:buNone/>
              <a:defRPr lang="nn-NO" sz="1200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438" indent="-21590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9613" indent="-225425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2350" indent="-236538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100000"/>
              <a:buFont typeface="Arial" panose="020B0604020202020204" pitchFamily="34" charset="0"/>
              <a:buNone/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buSzPct val="100000"/>
            </a:pPr>
            <a:r>
              <a:rPr lang="da-DK" sz="1800">
                <a:solidFill>
                  <a:srgbClr val="8C9B93"/>
                </a:solidFill>
              </a:rPr>
              <a:t>2012</a:t>
            </a:r>
          </a:p>
        </p:txBody>
      </p:sp>
      <p:sp>
        <p:nvSpPr>
          <p:cNvPr id="66" name="Pladsholder til tekst 9">
            <a:extLst>
              <a:ext uri="{FF2B5EF4-FFF2-40B4-BE49-F238E27FC236}">
                <a16:creationId xmlns:a16="http://schemas.microsoft.com/office/drawing/2014/main" id="{D8B75789-A53D-A14C-B223-25BF4D3444F8}"/>
              </a:ext>
            </a:extLst>
          </p:cNvPr>
          <p:cNvSpPr txBox="1">
            <a:spLocks/>
          </p:cNvSpPr>
          <p:nvPr/>
        </p:nvSpPr>
        <p:spPr>
          <a:xfrm>
            <a:off x="4369830" y="5745534"/>
            <a:ext cx="715466" cy="3700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378" rtl="0" eaLnBrk="1" latinLnBrk="0" hangingPunct="1">
              <a:lnSpc>
                <a:spcPts val="1300"/>
              </a:lnSpc>
              <a:spcBef>
                <a:spcPts val="0"/>
              </a:spcBef>
              <a:buClrTx/>
              <a:buSzPct val="75000"/>
              <a:buFontTx/>
              <a:buNone/>
              <a:defRPr lang="nn-NO" sz="1200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438" indent="-21590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9613" indent="-225425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2350" indent="-236538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100000"/>
              <a:buFont typeface="Arial" panose="020B0604020202020204" pitchFamily="34" charset="0"/>
              <a:buNone/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buSzPct val="100000"/>
            </a:pPr>
            <a:r>
              <a:rPr lang="da-DK" sz="1800">
                <a:solidFill>
                  <a:srgbClr val="8C9B93"/>
                </a:solidFill>
              </a:rPr>
              <a:t>2014</a:t>
            </a:r>
          </a:p>
        </p:txBody>
      </p:sp>
      <p:sp>
        <p:nvSpPr>
          <p:cNvPr id="67" name="Pladsholder til tekst 9">
            <a:extLst>
              <a:ext uri="{FF2B5EF4-FFF2-40B4-BE49-F238E27FC236}">
                <a16:creationId xmlns:a16="http://schemas.microsoft.com/office/drawing/2014/main" id="{7595AE6E-E427-8340-9742-796D8D252936}"/>
              </a:ext>
            </a:extLst>
          </p:cNvPr>
          <p:cNvSpPr txBox="1">
            <a:spLocks/>
          </p:cNvSpPr>
          <p:nvPr/>
        </p:nvSpPr>
        <p:spPr>
          <a:xfrm>
            <a:off x="5127034" y="5745534"/>
            <a:ext cx="723146" cy="3700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378" rtl="0" eaLnBrk="1" latinLnBrk="0" hangingPunct="1">
              <a:lnSpc>
                <a:spcPts val="1300"/>
              </a:lnSpc>
              <a:spcBef>
                <a:spcPts val="0"/>
              </a:spcBef>
              <a:buClrTx/>
              <a:buSzPct val="75000"/>
              <a:buFontTx/>
              <a:buNone/>
              <a:defRPr lang="nn-NO" sz="1200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438" indent="-21590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9613" indent="-225425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2350" indent="-236538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100000"/>
              <a:buFont typeface="Arial" panose="020B0604020202020204" pitchFamily="34" charset="0"/>
              <a:buNone/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buSzPct val="100000"/>
            </a:pPr>
            <a:r>
              <a:rPr lang="da-DK" sz="1800">
                <a:solidFill>
                  <a:srgbClr val="8C9B93"/>
                </a:solidFill>
              </a:rPr>
              <a:t>2015</a:t>
            </a:r>
          </a:p>
        </p:txBody>
      </p:sp>
      <p:sp>
        <p:nvSpPr>
          <p:cNvPr id="68" name="Pladsholder til tekst 9">
            <a:extLst>
              <a:ext uri="{FF2B5EF4-FFF2-40B4-BE49-F238E27FC236}">
                <a16:creationId xmlns:a16="http://schemas.microsoft.com/office/drawing/2014/main" id="{7F341D2B-7CD9-BC4C-A445-4D01B5EB4B02}"/>
              </a:ext>
            </a:extLst>
          </p:cNvPr>
          <p:cNvSpPr txBox="1">
            <a:spLocks/>
          </p:cNvSpPr>
          <p:nvPr/>
        </p:nvSpPr>
        <p:spPr>
          <a:xfrm>
            <a:off x="6644102" y="5745534"/>
            <a:ext cx="720000" cy="3700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378" rtl="0" eaLnBrk="1" latinLnBrk="0" hangingPunct="1">
              <a:lnSpc>
                <a:spcPts val="1300"/>
              </a:lnSpc>
              <a:spcBef>
                <a:spcPts val="0"/>
              </a:spcBef>
              <a:buClrTx/>
              <a:buSzPct val="75000"/>
              <a:buFontTx/>
              <a:buNone/>
              <a:defRPr lang="nn-NO" sz="1200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438" indent="-21590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9613" indent="-225425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2350" indent="-236538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100000"/>
              <a:buFont typeface="Arial" panose="020B0604020202020204" pitchFamily="34" charset="0"/>
              <a:buNone/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buSzPct val="100000"/>
            </a:pPr>
            <a:r>
              <a:rPr lang="da-DK" sz="1800">
                <a:solidFill>
                  <a:srgbClr val="8C9B93"/>
                </a:solidFill>
              </a:rPr>
              <a:t>2017</a:t>
            </a:r>
          </a:p>
        </p:txBody>
      </p:sp>
      <p:sp>
        <p:nvSpPr>
          <p:cNvPr id="69" name="Pladsholder til tekst 9">
            <a:extLst>
              <a:ext uri="{FF2B5EF4-FFF2-40B4-BE49-F238E27FC236}">
                <a16:creationId xmlns:a16="http://schemas.microsoft.com/office/drawing/2014/main" id="{1A17A72F-255F-1B46-8BB3-FF17F15EF1F6}"/>
              </a:ext>
            </a:extLst>
          </p:cNvPr>
          <p:cNvSpPr txBox="1">
            <a:spLocks/>
          </p:cNvSpPr>
          <p:nvPr/>
        </p:nvSpPr>
        <p:spPr>
          <a:xfrm>
            <a:off x="5890844" y="5745534"/>
            <a:ext cx="708860" cy="3700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378" rtl="0" eaLnBrk="1" latinLnBrk="0" hangingPunct="1">
              <a:lnSpc>
                <a:spcPts val="1300"/>
              </a:lnSpc>
              <a:spcBef>
                <a:spcPts val="0"/>
              </a:spcBef>
              <a:buClrTx/>
              <a:buSzPct val="75000"/>
              <a:buFontTx/>
              <a:buNone/>
              <a:defRPr lang="nn-NO" sz="1200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438" indent="-21590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9613" indent="-225425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2350" indent="-236538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100000"/>
              <a:buFont typeface="Arial" panose="020B0604020202020204" pitchFamily="34" charset="0"/>
              <a:buNone/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buSzPct val="100000"/>
            </a:pPr>
            <a:r>
              <a:rPr lang="da-DK" sz="1800">
                <a:solidFill>
                  <a:srgbClr val="8C9B93"/>
                </a:solidFill>
              </a:rPr>
              <a:t>2016</a:t>
            </a:r>
          </a:p>
        </p:txBody>
      </p:sp>
      <p:sp>
        <p:nvSpPr>
          <p:cNvPr id="70" name="Pladsholder til tekst 9">
            <a:extLst>
              <a:ext uri="{FF2B5EF4-FFF2-40B4-BE49-F238E27FC236}">
                <a16:creationId xmlns:a16="http://schemas.microsoft.com/office/drawing/2014/main" id="{A8ED84F6-0DFD-BA4C-B2A6-129C93FF6767}"/>
              </a:ext>
            </a:extLst>
          </p:cNvPr>
          <p:cNvSpPr txBox="1">
            <a:spLocks/>
          </p:cNvSpPr>
          <p:nvPr/>
        </p:nvSpPr>
        <p:spPr>
          <a:xfrm>
            <a:off x="8143220" y="5745534"/>
            <a:ext cx="720000" cy="3700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378" rtl="0" eaLnBrk="1" latinLnBrk="0" hangingPunct="1">
              <a:lnSpc>
                <a:spcPts val="1300"/>
              </a:lnSpc>
              <a:spcBef>
                <a:spcPts val="0"/>
              </a:spcBef>
              <a:buClrTx/>
              <a:buSzPct val="75000"/>
              <a:buFontTx/>
              <a:buNone/>
              <a:defRPr lang="nn-NO" sz="1200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438" indent="-21590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9613" indent="-225425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2350" indent="-236538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100000"/>
              <a:buFont typeface="Arial" panose="020B0604020202020204" pitchFamily="34" charset="0"/>
              <a:buNone/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buSzPct val="100000"/>
            </a:pPr>
            <a:r>
              <a:rPr lang="da-DK" sz="1800">
                <a:solidFill>
                  <a:srgbClr val="8C9B93"/>
                </a:solidFill>
              </a:rPr>
              <a:t>2019</a:t>
            </a:r>
          </a:p>
        </p:txBody>
      </p:sp>
      <p:sp>
        <p:nvSpPr>
          <p:cNvPr id="71" name="Pladsholder til tekst 9">
            <a:extLst>
              <a:ext uri="{FF2B5EF4-FFF2-40B4-BE49-F238E27FC236}">
                <a16:creationId xmlns:a16="http://schemas.microsoft.com/office/drawing/2014/main" id="{232CFAD7-F77F-B84E-B180-D544190BA197}"/>
              </a:ext>
            </a:extLst>
          </p:cNvPr>
          <p:cNvSpPr txBox="1">
            <a:spLocks/>
          </p:cNvSpPr>
          <p:nvPr/>
        </p:nvSpPr>
        <p:spPr>
          <a:xfrm>
            <a:off x="7389962" y="5745534"/>
            <a:ext cx="708860" cy="3700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378" rtl="0" eaLnBrk="1" latinLnBrk="0" hangingPunct="1">
              <a:lnSpc>
                <a:spcPts val="1300"/>
              </a:lnSpc>
              <a:spcBef>
                <a:spcPts val="0"/>
              </a:spcBef>
              <a:buClrTx/>
              <a:buSzPct val="75000"/>
              <a:buFontTx/>
              <a:buNone/>
              <a:defRPr lang="nn-NO" sz="1200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438" indent="-21590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9613" indent="-225425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2350" indent="-236538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100000"/>
              <a:buFont typeface="Arial" panose="020B0604020202020204" pitchFamily="34" charset="0"/>
              <a:buNone/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buSzPct val="100000"/>
            </a:pPr>
            <a:r>
              <a:rPr lang="da-DK" sz="1800">
                <a:solidFill>
                  <a:srgbClr val="8C9B93"/>
                </a:solidFill>
              </a:rPr>
              <a:t>2018</a:t>
            </a:r>
          </a:p>
        </p:txBody>
      </p:sp>
      <p:pic>
        <p:nvPicPr>
          <p:cNvPr id="42" name="Billede 41">
            <a:extLst>
              <a:ext uri="{FF2B5EF4-FFF2-40B4-BE49-F238E27FC236}">
                <a16:creationId xmlns:a16="http://schemas.microsoft.com/office/drawing/2014/main" id="{2F145D4F-C58A-C046-BAF7-4C9B4595BC2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10775" y="2470489"/>
            <a:ext cx="7106400" cy="2803314"/>
          </a:xfrm>
          <a:prstGeom prst="rect">
            <a:avLst/>
          </a:prstGeom>
        </p:spPr>
      </p:pic>
      <p:sp>
        <p:nvSpPr>
          <p:cNvPr id="43" name="Pladsholder til tekst 9">
            <a:extLst>
              <a:ext uri="{FF2B5EF4-FFF2-40B4-BE49-F238E27FC236}">
                <a16:creationId xmlns:a16="http://schemas.microsoft.com/office/drawing/2014/main" id="{D200A934-C8E6-C645-9967-C280E4909011}"/>
              </a:ext>
            </a:extLst>
          </p:cNvPr>
          <p:cNvSpPr txBox="1">
            <a:spLocks/>
          </p:cNvSpPr>
          <p:nvPr/>
        </p:nvSpPr>
        <p:spPr>
          <a:xfrm>
            <a:off x="9194480" y="2396860"/>
            <a:ext cx="2656965" cy="68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378" rtl="0" eaLnBrk="1" latinLnBrk="0" hangingPunct="1">
              <a:lnSpc>
                <a:spcPts val="1300"/>
              </a:lnSpc>
              <a:spcBef>
                <a:spcPts val="0"/>
              </a:spcBef>
              <a:buClrTx/>
              <a:buSzPct val="75000"/>
              <a:buFontTx/>
              <a:buNone/>
              <a:defRPr lang="nn-NO" sz="1200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438" indent="-21590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9613" indent="-225425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2350" indent="-236538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100000"/>
              <a:buFont typeface="Arial" panose="020B0604020202020204" pitchFamily="34" charset="0"/>
              <a:buNone/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buSzPct val="100000"/>
            </a:pPr>
            <a:r>
              <a:rPr lang="da-DK" sz="2100" b="1">
                <a:solidFill>
                  <a:schemeClr val="accent2"/>
                </a:solidFill>
              </a:rPr>
              <a:t>Lack of skilled workers</a:t>
            </a:r>
            <a:endParaRPr lang="da-DK" sz="2100">
              <a:solidFill>
                <a:schemeClr val="accent2"/>
              </a:solidFill>
            </a:endParaRPr>
          </a:p>
        </p:txBody>
      </p:sp>
      <p:sp>
        <p:nvSpPr>
          <p:cNvPr id="44" name="Pladsholder til tekst 9">
            <a:extLst>
              <a:ext uri="{FF2B5EF4-FFF2-40B4-BE49-F238E27FC236}">
                <a16:creationId xmlns:a16="http://schemas.microsoft.com/office/drawing/2014/main" id="{E2034C29-20F6-F943-9C53-2E2DCD5DE06D}"/>
              </a:ext>
            </a:extLst>
          </p:cNvPr>
          <p:cNvSpPr txBox="1">
            <a:spLocks/>
          </p:cNvSpPr>
          <p:nvPr/>
        </p:nvSpPr>
        <p:spPr>
          <a:xfrm>
            <a:off x="9194480" y="3266104"/>
            <a:ext cx="2656965" cy="68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378" rtl="0" eaLnBrk="1" latinLnBrk="0" hangingPunct="1">
              <a:lnSpc>
                <a:spcPts val="1300"/>
              </a:lnSpc>
              <a:spcBef>
                <a:spcPts val="0"/>
              </a:spcBef>
              <a:buClrTx/>
              <a:buSzPct val="75000"/>
              <a:buFontTx/>
              <a:buNone/>
              <a:defRPr lang="nn-NO" sz="1200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438" indent="-21590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9613" indent="-225425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2350" indent="-236538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100000"/>
              <a:buFont typeface="Arial" panose="020B0604020202020204" pitchFamily="34" charset="0"/>
              <a:buNone/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buSzPct val="100000"/>
            </a:pPr>
            <a:r>
              <a:rPr lang="da-DK" sz="2100" b="1">
                <a:solidFill>
                  <a:schemeClr val="accent2"/>
                </a:solidFill>
              </a:rPr>
              <a:t>Labour costs</a:t>
            </a:r>
            <a:endParaRPr lang="da-DK" sz="2100">
              <a:solidFill>
                <a:schemeClr val="accent2"/>
              </a:solidFill>
            </a:endParaRPr>
          </a:p>
        </p:txBody>
      </p:sp>
      <p:sp>
        <p:nvSpPr>
          <p:cNvPr id="45" name="Pladsholder til tekst 9">
            <a:extLst>
              <a:ext uri="{FF2B5EF4-FFF2-40B4-BE49-F238E27FC236}">
                <a16:creationId xmlns:a16="http://schemas.microsoft.com/office/drawing/2014/main" id="{08EB4DC7-7AE5-DD4E-9B4C-2CE3C3BA2FEF}"/>
              </a:ext>
            </a:extLst>
          </p:cNvPr>
          <p:cNvSpPr txBox="1">
            <a:spLocks/>
          </p:cNvSpPr>
          <p:nvPr/>
        </p:nvSpPr>
        <p:spPr>
          <a:xfrm>
            <a:off x="9194480" y="3717660"/>
            <a:ext cx="2656965" cy="68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378" rtl="0" eaLnBrk="1" latinLnBrk="0" hangingPunct="1">
              <a:lnSpc>
                <a:spcPts val="1300"/>
              </a:lnSpc>
              <a:spcBef>
                <a:spcPts val="0"/>
              </a:spcBef>
              <a:buClrTx/>
              <a:buSzPct val="75000"/>
              <a:buFontTx/>
              <a:buNone/>
              <a:defRPr lang="nn-NO" sz="1200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438" indent="-21590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9613" indent="-225425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2350" indent="-236538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100000"/>
              <a:buFont typeface="Arial" panose="020B0604020202020204" pitchFamily="34" charset="0"/>
              <a:buNone/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buSzPct val="100000"/>
            </a:pPr>
            <a:r>
              <a:rPr lang="da-DK" sz="2100" b="1">
                <a:solidFill>
                  <a:schemeClr val="accent2"/>
                </a:solidFill>
              </a:rPr>
              <a:t>Energy and raw material prices</a:t>
            </a:r>
            <a:endParaRPr lang="da-DK" sz="2100">
              <a:solidFill>
                <a:schemeClr val="accent2"/>
              </a:solidFill>
            </a:endParaRPr>
          </a:p>
        </p:txBody>
      </p:sp>
      <p:sp>
        <p:nvSpPr>
          <p:cNvPr id="47" name="Pladsholder til tekst 9">
            <a:extLst>
              <a:ext uri="{FF2B5EF4-FFF2-40B4-BE49-F238E27FC236}">
                <a16:creationId xmlns:a16="http://schemas.microsoft.com/office/drawing/2014/main" id="{15DFB81B-ED03-C942-B031-83F230AAD418}"/>
              </a:ext>
            </a:extLst>
          </p:cNvPr>
          <p:cNvSpPr txBox="1">
            <a:spLocks/>
          </p:cNvSpPr>
          <p:nvPr/>
        </p:nvSpPr>
        <p:spPr>
          <a:xfrm>
            <a:off x="9194480" y="5094904"/>
            <a:ext cx="2656965" cy="68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378" rtl="0" eaLnBrk="1" latinLnBrk="0" hangingPunct="1">
              <a:lnSpc>
                <a:spcPts val="1300"/>
              </a:lnSpc>
              <a:spcBef>
                <a:spcPts val="0"/>
              </a:spcBef>
              <a:buClrTx/>
              <a:buSzPct val="75000"/>
              <a:buFontTx/>
              <a:buNone/>
              <a:defRPr lang="nn-NO" sz="1200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438" indent="-21590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9613" indent="-225425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2350" indent="-236538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100000"/>
              <a:buFont typeface="Arial" panose="020B0604020202020204" pitchFamily="34" charset="0"/>
              <a:buNone/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buSzPct val="100000"/>
            </a:pPr>
            <a:r>
              <a:rPr lang="da-DK" sz="2100" b="1">
                <a:solidFill>
                  <a:schemeClr val="accent2"/>
                </a:solidFill>
              </a:rPr>
              <a:t>Financial conditions</a:t>
            </a:r>
            <a:endParaRPr lang="da-DK" sz="21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0159728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Pladsholder til tekst 9">
            <a:extLst>
              <a:ext uri="{FF2B5EF4-FFF2-40B4-BE49-F238E27FC236}">
                <a16:creationId xmlns:a16="http://schemas.microsoft.com/office/drawing/2014/main" id="{7EE20497-5DD0-4449-B6AE-6A1795BAB28E}"/>
              </a:ext>
            </a:extLst>
          </p:cNvPr>
          <p:cNvSpPr txBox="1">
            <a:spLocks/>
          </p:cNvSpPr>
          <p:nvPr/>
        </p:nvSpPr>
        <p:spPr>
          <a:xfrm>
            <a:off x="868491" y="1864800"/>
            <a:ext cx="8147122" cy="50851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378" rtl="0" eaLnBrk="1" latinLnBrk="0" hangingPunct="1">
              <a:lnSpc>
                <a:spcPts val="1300"/>
              </a:lnSpc>
              <a:spcBef>
                <a:spcPts val="0"/>
              </a:spcBef>
              <a:buClrTx/>
              <a:buSzPct val="75000"/>
              <a:buFontTx/>
              <a:buNone/>
              <a:defRPr lang="nn-NO" sz="1200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438" indent="-21590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9613" indent="-225425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2350" indent="-236538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100000"/>
              <a:buFont typeface="Arial" panose="020B0604020202020204" pitchFamily="34" charset="0"/>
              <a:buNone/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da-DK" sz="2400" b="1">
                <a:solidFill>
                  <a:schemeClr val="accent2"/>
                </a:solidFill>
              </a:rPr>
              <a:t>Trends challenging value creation across industries </a:t>
            </a:r>
          </a:p>
          <a:p>
            <a:pPr>
              <a:lnSpc>
                <a:spcPct val="50000"/>
              </a:lnSpc>
            </a:pPr>
            <a:endParaRPr lang="da-DK" sz="1600">
              <a:solidFill>
                <a:schemeClr val="accent2"/>
              </a:solidFill>
            </a:endParaRPr>
          </a:p>
          <a:p>
            <a:pPr>
              <a:lnSpc>
                <a:spcPct val="100000"/>
              </a:lnSpc>
            </a:pPr>
            <a:endParaRPr lang="da-DK" sz="1600">
              <a:solidFill>
                <a:schemeClr val="accent2"/>
              </a:solidFill>
            </a:endParaRPr>
          </a:p>
          <a:p>
            <a:pPr>
              <a:lnSpc>
                <a:spcPct val="100000"/>
              </a:lnSpc>
            </a:pPr>
            <a:endParaRPr lang="da-DK" sz="1600">
              <a:solidFill>
                <a:schemeClr val="accent2"/>
              </a:solidFill>
            </a:endParaRPr>
          </a:p>
          <a:p>
            <a:pPr>
              <a:lnSpc>
                <a:spcPct val="100000"/>
              </a:lnSpc>
            </a:pPr>
            <a:endParaRPr lang="da-DK" sz="1600">
              <a:solidFill>
                <a:schemeClr val="accent2"/>
              </a:solidFill>
            </a:endParaRPr>
          </a:p>
          <a:p>
            <a:pPr>
              <a:lnSpc>
                <a:spcPct val="100000"/>
              </a:lnSpc>
            </a:pPr>
            <a:endParaRPr lang="da-DK" sz="1600">
              <a:solidFill>
                <a:schemeClr val="accent2"/>
              </a:solidFill>
            </a:endParaRPr>
          </a:p>
          <a:p>
            <a:pPr>
              <a:lnSpc>
                <a:spcPct val="100000"/>
              </a:lnSpc>
            </a:pPr>
            <a:endParaRPr lang="da-DK" sz="1600">
              <a:solidFill>
                <a:schemeClr val="accent2"/>
              </a:solidFill>
            </a:endParaRPr>
          </a:p>
          <a:p>
            <a:pPr>
              <a:lnSpc>
                <a:spcPct val="100000"/>
              </a:lnSpc>
            </a:pPr>
            <a:endParaRPr lang="da-DK" sz="1600">
              <a:solidFill>
                <a:schemeClr val="accent2"/>
              </a:solidFill>
            </a:endParaRPr>
          </a:p>
          <a:p>
            <a:pPr>
              <a:lnSpc>
                <a:spcPct val="100000"/>
              </a:lnSpc>
            </a:pPr>
            <a:endParaRPr lang="da-DK" sz="1600">
              <a:solidFill>
                <a:schemeClr val="accent2"/>
              </a:solidFill>
            </a:endParaRPr>
          </a:p>
          <a:p>
            <a:pPr>
              <a:lnSpc>
                <a:spcPct val="100000"/>
              </a:lnSpc>
            </a:pPr>
            <a:endParaRPr lang="da-DK" sz="1600">
              <a:solidFill>
                <a:schemeClr val="accent2"/>
              </a:solidFill>
            </a:endParaRPr>
          </a:p>
          <a:p>
            <a:pPr>
              <a:lnSpc>
                <a:spcPct val="100000"/>
              </a:lnSpc>
            </a:pPr>
            <a:endParaRPr lang="da-DK" sz="1600">
              <a:solidFill>
                <a:schemeClr val="accent2"/>
              </a:solidFill>
            </a:endParaRPr>
          </a:p>
          <a:p>
            <a:pPr>
              <a:lnSpc>
                <a:spcPct val="100000"/>
              </a:lnSpc>
            </a:pPr>
            <a:endParaRPr lang="da-DK" sz="1600">
              <a:solidFill>
                <a:schemeClr val="accent2"/>
              </a:solidFill>
            </a:endParaRPr>
          </a:p>
          <a:p>
            <a:pPr>
              <a:lnSpc>
                <a:spcPct val="100000"/>
              </a:lnSpc>
            </a:pPr>
            <a:endParaRPr lang="da-DK" sz="1600">
              <a:solidFill>
                <a:schemeClr val="accent2"/>
              </a:solidFill>
            </a:endParaRPr>
          </a:p>
          <a:p>
            <a:pPr>
              <a:lnSpc>
                <a:spcPct val="100000"/>
              </a:lnSpc>
            </a:pPr>
            <a:endParaRPr lang="da-DK" sz="1600">
              <a:solidFill>
                <a:schemeClr val="accent2"/>
              </a:solidFill>
            </a:endParaRPr>
          </a:p>
          <a:p>
            <a:pPr>
              <a:lnSpc>
                <a:spcPct val="100000"/>
              </a:lnSpc>
            </a:pPr>
            <a:endParaRPr lang="da-DK" sz="1600">
              <a:solidFill>
                <a:schemeClr val="accent2"/>
              </a:solidFill>
            </a:endParaRPr>
          </a:p>
          <a:p>
            <a:pPr>
              <a:lnSpc>
                <a:spcPct val="100000"/>
              </a:lnSpc>
            </a:pPr>
            <a:endParaRPr lang="da-DK" sz="1600">
              <a:solidFill>
                <a:schemeClr val="accent2"/>
              </a:solidFill>
            </a:endParaRPr>
          </a:p>
        </p:txBody>
      </p:sp>
      <p:sp>
        <p:nvSpPr>
          <p:cNvPr id="16" name="Rektangel 15">
            <a:hlinkClick r:id="" action="ppaction://noaction"/>
            <a:extLst>
              <a:ext uri="{FF2B5EF4-FFF2-40B4-BE49-F238E27FC236}">
                <a16:creationId xmlns:a16="http://schemas.microsoft.com/office/drawing/2014/main" id="{F0C03D43-B7A9-9F4E-87BD-0B7840E97167}"/>
              </a:ext>
            </a:extLst>
          </p:cNvPr>
          <p:cNvSpPr/>
          <p:nvPr/>
        </p:nvSpPr>
        <p:spPr>
          <a:xfrm>
            <a:off x="10920536" y="144000"/>
            <a:ext cx="1152128" cy="4766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79" name="Titel 14">
            <a:extLst>
              <a:ext uri="{FF2B5EF4-FFF2-40B4-BE49-F238E27FC236}">
                <a16:creationId xmlns:a16="http://schemas.microsoft.com/office/drawing/2014/main" id="{A24828E5-4613-C146-B3D5-7577E9CE8DDD}"/>
              </a:ext>
            </a:extLst>
          </p:cNvPr>
          <p:cNvSpPr txBox="1">
            <a:spLocks/>
          </p:cNvSpPr>
          <p:nvPr/>
        </p:nvSpPr>
        <p:spPr>
          <a:xfrm>
            <a:off x="835200" y="936000"/>
            <a:ext cx="9217024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378" rtl="0" eaLnBrk="1" latinLnBrk="0" hangingPunct="1">
              <a:lnSpc>
                <a:spcPts val="4300"/>
              </a:lnSpc>
              <a:spcBef>
                <a:spcPct val="0"/>
              </a:spcBef>
              <a:buNone/>
              <a:defRPr lang="nn-NO" sz="4000" b="0" i="0" kern="1200" cap="none" spc="0" baseline="0" noProof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b="1"/>
              <a:t>Trends</a:t>
            </a:r>
            <a:r>
              <a:rPr lang="da-DK"/>
              <a:t> affecting internal logistics</a:t>
            </a:r>
          </a:p>
        </p:txBody>
      </p:sp>
      <p:sp>
        <p:nvSpPr>
          <p:cNvPr id="81" name="Pladsholder til slidenummer 2">
            <a:extLst>
              <a:ext uri="{FF2B5EF4-FFF2-40B4-BE49-F238E27FC236}">
                <a16:creationId xmlns:a16="http://schemas.microsoft.com/office/drawing/2014/main" id="{C38C73C7-5F62-DD45-9294-60404E934F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00129" y="6534000"/>
            <a:ext cx="252000" cy="180000"/>
          </a:xfrm>
        </p:spPr>
        <p:txBody>
          <a:bodyPr/>
          <a:lstStyle/>
          <a:p>
            <a:fld id="{8471EAA7-3162-4B69-9563-88D5A3B75B98}" type="slidenum">
              <a:rPr lang="en-US" smtClean="0"/>
              <a:pPr/>
              <a:t>4</a:t>
            </a:fld>
            <a:endParaRPr lang="en-US"/>
          </a:p>
        </p:txBody>
      </p:sp>
      <p:grpSp>
        <p:nvGrpSpPr>
          <p:cNvPr id="2" name="Gruppe 1">
            <a:extLst>
              <a:ext uri="{FF2B5EF4-FFF2-40B4-BE49-F238E27FC236}">
                <a16:creationId xmlns:a16="http://schemas.microsoft.com/office/drawing/2014/main" id="{0F67D3A1-CB8E-1E44-8377-776AF15C6674}"/>
              </a:ext>
            </a:extLst>
          </p:cNvPr>
          <p:cNvGrpSpPr/>
          <p:nvPr/>
        </p:nvGrpSpPr>
        <p:grpSpPr>
          <a:xfrm>
            <a:off x="905704" y="2451674"/>
            <a:ext cx="10122630" cy="3380665"/>
            <a:chOff x="871987" y="2377497"/>
            <a:chExt cx="10122630" cy="3380665"/>
          </a:xfrm>
        </p:grpSpPr>
        <p:grpSp>
          <p:nvGrpSpPr>
            <p:cNvPr id="95" name="Gruppe 94">
              <a:extLst>
                <a:ext uri="{FF2B5EF4-FFF2-40B4-BE49-F238E27FC236}">
                  <a16:creationId xmlns:a16="http://schemas.microsoft.com/office/drawing/2014/main" id="{E3E4C2EF-F285-1442-AEB0-EF066DE24D9D}"/>
                </a:ext>
              </a:extLst>
            </p:cNvPr>
            <p:cNvGrpSpPr/>
            <p:nvPr/>
          </p:nvGrpSpPr>
          <p:grpSpPr>
            <a:xfrm>
              <a:off x="871987" y="4857450"/>
              <a:ext cx="3319896" cy="900712"/>
              <a:chOff x="839978" y="2804622"/>
              <a:chExt cx="2455702" cy="666250"/>
            </a:xfrm>
          </p:grpSpPr>
          <p:pic>
            <p:nvPicPr>
              <p:cNvPr id="96" name="Billede 95" descr="Et billede, der indeholder lys, paraply, himmel, bygning&#10;&#10;Automatisk genereret beskrivelse">
                <a:extLst>
                  <a:ext uri="{FF2B5EF4-FFF2-40B4-BE49-F238E27FC236}">
                    <a16:creationId xmlns:a16="http://schemas.microsoft.com/office/drawing/2014/main" id="{DC8B6E4C-74B4-1844-890C-AAE1EE4B27B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39978" y="2804622"/>
                <a:ext cx="1955404" cy="666250"/>
              </a:xfrm>
              <a:prstGeom prst="rect">
                <a:avLst/>
              </a:prstGeom>
            </p:spPr>
          </p:pic>
          <p:pic>
            <p:nvPicPr>
              <p:cNvPr id="97" name="Billede 96" descr="Et billede, der indeholder lys, paraply, himmel, bygning&#10;&#10;Automatisk genereret beskrivelse">
                <a:extLst>
                  <a:ext uri="{FF2B5EF4-FFF2-40B4-BE49-F238E27FC236}">
                    <a16:creationId xmlns:a16="http://schemas.microsoft.com/office/drawing/2014/main" id="{B82A3DC8-9FFB-7442-AF0D-6E8F239A33F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3785" r="1223"/>
              <a:stretch/>
            </p:blipFill>
            <p:spPr>
              <a:xfrm>
                <a:off x="1438206" y="2804622"/>
                <a:ext cx="1857474" cy="666250"/>
              </a:xfrm>
              <a:prstGeom prst="rect">
                <a:avLst/>
              </a:prstGeom>
            </p:spPr>
          </p:pic>
        </p:grpSp>
        <p:sp>
          <p:nvSpPr>
            <p:cNvPr id="69" name="TextBox 13">
              <a:extLst>
                <a:ext uri="{FF2B5EF4-FFF2-40B4-BE49-F238E27FC236}">
                  <a16:creationId xmlns:a16="http://schemas.microsoft.com/office/drawing/2014/main" id="{DACA8BB3-C9EB-5D4D-B57D-5E8872DF7518}"/>
                </a:ext>
              </a:extLst>
            </p:cNvPr>
            <p:cNvSpPr txBox="1"/>
            <p:nvPr/>
          </p:nvSpPr>
          <p:spPr>
            <a:xfrm>
              <a:off x="883651" y="2402441"/>
              <a:ext cx="1800200" cy="369332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en-US" sz="1800" b="1">
                  <a:solidFill>
                    <a:schemeClr val="accent2"/>
                  </a:solidFill>
                </a:rPr>
                <a:t>Trend</a:t>
              </a:r>
            </a:p>
          </p:txBody>
        </p:sp>
        <p:sp>
          <p:nvSpPr>
            <p:cNvPr id="71" name="TextBox 15">
              <a:extLst>
                <a:ext uri="{FF2B5EF4-FFF2-40B4-BE49-F238E27FC236}">
                  <a16:creationId xmlns:a16="http://schemas.microsoft.com/office/drawing/2014/main" id="{8BB83CCD-9EBA-154C-9976-9F1A37BA807D}"/>
                </a:ext>
              </a:extLst>
            </p:cNvPr>
            <p:cNvSpPr txBox="1"/>
            <p:nvPr/>
          </p:nvSpPr>
          <p:spPr>
            <a:xfrm>
              <a:off x="4268330" y="2379914"/>
              <a:ext cx="1766231" cy="369332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en-US" sz="1800" b="1">
                  <a:solidFill>
                    <a:schemeClr val="accent2"/>
                  </a:solidFill>
                </a:rPr>
                <a:t>Challenge</a:t>
              </a:r>
            </a:p>
          </p:txBody>
        </p:sp>
        <p:sp>
          <p:nvSpPr>
            <p:cNvPr id="72" name="TextBox 16">
              <a:extLst>
                <a:ext uri="{FF2B5EF4-FFF2-40B4-BE49-F238E27FC236}">
                  <a16:creationId xmlns:a16="http://schemas.microsoft.com/office/drawing/2014/main" id="{787BC9CF-BF8E-6E4F-9550-5F1CD275E2AB}"/>
                </a:ext>
              </a:extLst>
            </p:cNvPr>
            <p:cNvSpPr txBox="1"/>
            <p:nvPr/>
          </p:nvSpPr>
          <p:spPr>
            <a:xfrm>
              <a:off x="7678081" y="2377497"/>
              <a:ext cx="1768080" cy="369332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en-US" sz="1800" b="1">
                  <a:solidFill>
                    <a:schemeClr val="accent2"/>
                  </a:solidFill>
                </a:rPr>
                <a:t>Solution</a:t>
              </a:r>
            </a:p>
          </p:txBody>
        </p:sp>
        <p:grpSp>
          <p:nvGrpSpPr>
            <p:cNvPr id="73" name="Gruppe 72">
              <a:extLst>
                <a:ext uri="{FF2B5EF4-FFF2-40B4-BE49-F238E27FC236}">
                  <a16:creationId xmlns:a16="http://schemas.microsoft.com/office/drawing/2014/main" id="{25AFFF80-9E29-D14E-A4B3-1C963D8D76F1}"/>
                </a:ext>
              </a:extLst>
            </p:cNvPr>
            <p:cNvGrpSpPr/>
            <p:nvPr/>
          </p:nvGrpSpPr>
          <p:grpSpPr>
            <a:xfrm>
              <a:off x="871987" y="2764937"/>
              <a:ext cx="3319896" cy="900712"/>
              <a:chOff x="839978" y="2804622"/>
              <a:chExt cx="2455702" cy="666250"/>
            </a:xfrm>
          </p:grpSpPr>
          <p:pic>
            <p:nvPicPr>
              <p:cNvPr id="74" name="Billede 73" descr="Et billede, der indeholder lys, paraply, himmel, bygning&#10;&#10;Automatisk genereret beskrivelse">
                <a:extLst>
                  <a:ext uri="{FF2B5EF4-FFF2-40B4-BE49-F238E27FC236}">
                    <a16:creationId xmlns:a16="http://schemas.microsoft.com/office/drawing/2014/main" id="{675DADF8-9DD2-0847-8AEB-D97DB9C0868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39978" y="2804622"/>
                <a:ext cx="1955404" cy="666250"/>
              </a:xfrm>
              <a:prstGeom prst="rect">
                <a:avLst/>
              </a:prstGeom>
            </p:spPr>
          </p:pic>
          <p:pic>
            <p:nvPicPr>
              <p:cNvPr id="75" name="Billede 74" descr="Et billede, der indeholder lys, paraply, himmel, bygning&#10;&#10;Automatisk genereret beskrivelse">
                <a:extLst>
                  <a:ext uri="{FF2B5EF4-FFF2-40B4-BE49-F238E27FC236}">
                    <a16:creationId xmlns:a16="http://schemas.microsoft.com/office/drawing/2014/main" id="{7FDAE966-E1C1-7244-B6D9-96F46DBC2A9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3785" r="1223"/>
              <a:stretch/>
            </p:blipFill>
            <p:spPr>
              <a:xfrm>
                <a:off x="1438206" y="2804622"/>
                <a:ext cx="1857474" cy="666250"/>
              </a:xfrm>
              <a:prstGeom prst="rect">
                <a:avLst/>
              </a:prstGeom>
            </p:spPr>
          </p:pic>
        </p:grpSp>
        <p:sp>
          <p:nvSpPr>
            <p:cNvPr id="54" name="TextBox 10">
              <a:extLst>
                <a:ext uri="{FF2B5EF4-FFF2-40B4-BE49-F238E27FC236}">
                  <a16:creationId xmlns:a16="http://schemas.microsoft.com/office/drawing/2014/main" id="{270FDDAF-BA30-5148-9221-5D5A7395E37D}"/>
                </a:ext>
              </a:extLst>
            </p:cNvPr>
            <p:cNvSpPr txBox="1"/>
            <p:nvPr/>
          </p:nvSpPr>
          <p:spPr>
            <a:xfrm>
              <a:off x="946725" y="2944625"/>
              <a:ext cx="264353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>
                  <a:solidFill>
                    <a:schemeClr val="bg1"/>
                  </a:solidFill>
                </a:rPr>
                <a:t>Rapid growth of new economies </a:t>
              </a:r>
            </a:p>
            <a:p>
              <a:r>
                <a:rPr lang="en-US" sz="1400" b="1">
                  <a:solidFill>
                    <a:schemeClr val="bg1"/>
                  </a:solidFill>
                </a:rPr>
                <a:t>and new business models</a:t>
              </a:r>
            </a:p>
          </p:txBody>
        </p:sp>
        <p:grpSp>
          <p:nvGrpSpPr>
            <p:cNvPr id="104" name="Gruppe 103">
              <a:extLst>
                <a:ext uri="{FF2B5EF4-FFF2-40B4-BE49-F238E27FC236}">
                  <a16:creationId xmlns:a16="http://schemas.microsoft.com/office/drawing/2014/main" id="{9B4E8B44-7FED-9049-A435-C74BCB4B6F6A}"/>
                </a:ext>
              </a:extLst>
            </p:cNvPr>
            <p:cNvGrpSpPr/>
            <p:nvPr/>
          </p:nvGrpSpPr>
          <p:grpSpPr>
            <a:xfrm>
              <a:off x="4268330" y="4857450"/>
              <a:ext cx="3319896" cy="900712"/>
              <a:chOff x="839978" y="2804622"/>
              <a:chExt cx="2455702" cy="666250"/>
            </a:xfrm>
          </p:grpSpPr>
          <p:pic>
            <p:nvPicPr>
              <p:cNvPr id="105" name="Billede 104" descr="Et billede, der indeholder lys, paraply, himmel, bygning&#10;&#10;Automatisk genereret beskrivelse">
                <a:extLst>
                  <a:ext uri="{FF2B5EF4-FFF2-40B4-BE49-F238E27FC236}">
                    <a16:creationId xmlns:a16="http://schemas.microsoft.com/office/drawing/2014/main" id="{9448F779-1A08-3748-A998-7F2919B579E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39978" y="2804622"/>
                <a:ext cx="1955404" cy="666250"/>
              </a:xfrm>
              <a:prstGeom prst="rect">
                <a:avLst/>
              </a:prstGeom>
            </p:spPr>
          </p:pic>
          <p:pic>
            <p:nvPicPr>
              <p:cNvPr id="106" name="Billede 105" descr="Et billede, der indeholder lys, paraply, himmel, bygning&#10;&#10;Automatisk genereret beskrivelse">
                <a:extLst>
                  <a:ext uri="{FF2B5EF4-FFF2-40B4-BE49-F238E27FC236}">
                    <a16:creationId xmlns:a16="http://schemas.microsoft.com/office/drawing/2014/main" id="{9C16C9CF-4E14-1F40-AC84-28CC697063D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3785" r="1223"/>
              <a:stretch/>
            </p:blipFill>
            <p:spPr>
              <a:xfrm>
                <a:off x="1438206" y="2804622"/>
                <a:ext cx="1857474" cy="666250"/>
              </a:xfrm>
              <a:prstGeom prst="rect">
                <a:avLst/>
              </a:prstGeom>
            </p:spPr>
          </p:pic>
        </p:grpSp>
        <p:grpSp>
          <p:nvGrpSpPr>
            <p:cNvPr id="107" name="Gruppe 106">
              <a:extLst>
                <a:ext uri="{FF2B5EF4-FFF2-40B4-BE49-F238E27FC236}">
                  <a16:creationId xmlns:a16="http://schemas.microsoft.com/office/drawing/2014/main" id="{4068296A-2E8D-DD47-B30C-74CE1515332D}"/>
                </a:ext>
              </a:extLst>
            </p:cNvPr>
            <p:cNvGrpSpPr/>
            <p:nvPr/>
          </p:nvGrpSpPr>
          <p:grpSpPr>
            <a:xfrm>
              <a:off x="4268330" y="2764937"/>
              <a:ext cx="3319896" cy="900712"/>
              <a:chOff x="839978" y="2804622"/>
              <a:chExt cx="2455702" cy="666250"/>
            </a:xfrm>
          </p:grpSpPr>
          <p:pic>
            <p:nvPicPr>
              <p:cNvPr id="108" name="Billede 107" descr="Et billede, der indeholder lys, paraply, himmel, bygning&#10;&#10;Automatisk genereret beskrivelse">
                <a:extLst>
                  <a:ext uri="{FF2B5EF4-FFF2-40B4-BE49-F238E27FC236}">
                    <a16:creationId xmlns:a16="http://schemas.microsoft.com/office/drawing/2014/main" id="{0D6A9383-CEA0-654C-BAA1-C6C3247D27D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39978" y="2804622"/>
                <a:ext cx="1955404" cy="666250"/>
              </a:xfrm>
              <a:prstGeom prst="rect">
                <a:avLst/>
              </a:prstGeom>
            </p:spPr>
          </p:pic>
          <p:pic>
            <p:nvPicPr>
              <p:cNvPr id="109" name="Billede 108" descr="Et billede, der indeholder lys, paraply, himmel, bygning&#10;&#10;Automatisk genereret beskrivelse">
                <a:extLst>
                  <a:ext uri="{FF2B5EF4-FFF2-40B4-BE49-F238E27FC236}">
                    <a16:creationId xmlns:a16="http://schemas.microsoft.com/office/drawing/2014/main" id="{B83451E1-A1AF-C04C-B3E7-3B7F954B20F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3785" r="1223"/>
              <a:stretch/>
            </p:blipFill>
            <p:spPr>
              <a:xfrm>
                <a:off x="1438206" y="2804622"/>
                <a:ext cx="1857474" cy="666250"/>
              </a:xfrm>
              <a:prstGeom prst="rect">
                <a:avLst/>
              </a:prstGeom>
            </p:spPr>
          </p:pic>
        </p:grpSp>
        <p:sp>
          <p:nvSpPr>
            <p:cNvPr id="110" name="TextBox 10">
              <a:extLst>
                <a:ext uri="{FF2B5EF4-FFF2-40B4-BE49-F238E27FC236}">
                  <a16:creationId xmlns:a16="http://schemas.microsoft.com/office/drawing/2014/main" id="{15FB02AA-F50C-434D-B9B1-A06F9EBA2D5E}"/>
                </a:ext>
              </a:extLst>
            </p:cNvPr>
            <p:cNvSpPr txBox="1"/>
            <p:nvPr/>
          </p:nvSpPr>
          <p:spPr>
            <a:xfrm>
              <a:off x="4381184" y="5032904"/>
              <a:ext cx="308296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>
                  <a:solidFill>
                    <a:schemeClr val="bg1"/>
                  </a:solidFill>
                </a:rPr>
                <a:t>Increased risk with interaction </a:t>
              </a:r>
            </a:p>
            <a:p>
              <a:r>
                <a:rPr lang="en-US" sz="1400" b="1">
                  <a:solidFill>
                    <a:schemeClr val="bg1"/>
                  </a:solidFill>
                </a:rPr>
                <a:t>of machines and people</a:t>
              </a:r>
            </a:p>
          </p:txBody>
        </p:sp>
        <p:sp>
          <p:nvSpPr>
            <p:cNvPr id="112" name="TextBox 10">
              <a:extLst>
                <a:ext uri="{FF2B5EF4-FFF2-40B4-BE49-F238E27FC236}">
                  <a16:creationId xmlns:a16="http://schemas.microsoft.com/office/drawing/2014/main" id="{4EFE1C1C-EC6E-3342-BC76-CF2A00FF127F}"/>
                </a:ext>
              </a:extLst>
            </p:cNvPr>
            <p:cNvSpPr txBox="1"/>
            <p:nvPr/>
          </p:nvSpPr>
          <p:spPr>
            <a:xfrm>
              <a:off x="4343068" y="2944625"/>
              <a:ext cx="264353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>
                  <a:solidFill>
                    <a:schemeClr val="bg1"/>
                  </a:solidFill>
                </a:rPr>
                <a:t>Global competition puts pressure </a:t>
              </a:r>
            </a:p>
            <a:p>
              <a:r>
                <a:rPr lang="en-US" sz="1400" b="1">
                  <a:solidFill>
                    <a:schemeClr val="bg1"/>
                  </a:solidFill>
                </a:rPr>
                <a:t>on continued optimization</a:t>
              </a:r>
            </a:p>
          </p:txBody>
        </p:sp>
        <p:grpSp>
          <p:nvGrpSpPr>
            <p:cNvPr id="140" name="Gruppe 139">
              <a:extLst>
                <a:ext uri="{FF2B5EF4-FFF2-40B4-BE49-F238E27FC236}">
                  <a16:creationId xmlns:a16="http://schemas.microsoft.com/office/drawing/2014/main" id="{E0C84649-3C09-DA4E-B3D5-FE1FCA495D21}"/>
                </a:ext>
              </a:extLst>
            </p:cNvPr>
            <p:cNvGrpSpPr/>
            <p:nvPr/>
          </p:nvGrpSpPr>
          <p:grpSpPr>
            <a:xfrm>
              <a:off x="7674721" y="4857450"/>
              <a:ext cx="3319896" cy="900712"/>
              <a:chOff x="839978" y="2804622"/>
              <a:chExt cx="2455702" cy="666250"/>
            </a:xfrm>
          </p:grpSpPr>
          <p:pic>
            <p:nvPicPr>
              <p:cNvPr id="141" name="Billede 140" descr="Et billede, der indeholder lys, paraply, himmel, bygning&#10;&#10;Automatisk genereret beskrivelse">
                <a:extLst>
                  <a:ext uri="{FF2B5EF4-FFF2-40B4-BE49-F238E27FC236}">
                    <a16:creationId xmlns:a16="http://schemas.microsoft.com/office/drawing/2014/main" id="{5BE959C8-5C20-F84D-AC6B-6208E23210C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39978" y="2804622"/>
                <a:ext cx="1955404" cy="666250"/>
              </a:xfrm>
              <a:prstGeom prst="rect">
                <a:avLst/>
              </a:prstGeom>
            </p:spPr>
          </p:pic>
          <p:pic>
            <p:nvPicPr>
              <p:cNvPr id="142" name="Billede 141" descr="Et billede, der indeholder lys, paraply, himmel, bygning&#10;&#10;Automatisk genereret beskrivelse">
                <a:extLst>
                  <a:ext uri="{FF2B5EF4-FFF2-40B4-BE49-F238E27FC236}">
                    <a16:creationId xmlns:a16="http://schemas.microsoft.com/office/drawing/2014/main" id="{E8A9A72B-74B6-D54B-856D-55ADBFDE988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3785" r="1223"/>
              <a:stretch/>
            </p:blipFill>
            <p:spPr>
              <a:xfrm>
                <a:off x="1438206" y="2804622"/>
                <a:ext cx="1857474" cy="666250"/>
              </a:xfrm>
              <a:prstGeom prst="rect">
                <a:avLst/>
              </a:prstGeom>
            </p:spPr>
          </p:pic>
        </p:grpSp>
        <p:grpSp>
          <p:nvGrpSpPr>
            <p:cNvPr id="143" name="Gruppe 142">
              <a:extLst>
                <a:ext uri="{FF2B5EF4-FFF2-40B4-BE49-F238E27FC236}">
                  <a16:creationId xmlns:a16="http://schemas.microsoft.com/office/drawing/2014/main" id="{91C9BDB3-1F99-6D49-90AF-5D1CD2939130}"/>
                </a:ext>
              </a:extLst>
            </p:cNvPr>
            <p:cNvGrpSpPr/>
            <p:nvPr/>
          </p:nvGrpSpPr>
          <p:grpSpPr>
            <a:xfrm>
              <a:off x="7674721" y="2764937"/>
              <a:ext cx="3319896" cy="900712"/>
              <a:chOff x="839978" y="2804622"/>
              <a:chExt cx="2455702" cy="666250"/>
            </a:xfrm>
          </p:grpSpPr>
          <p:pic>
            <p:nvPicPr>
              <p:cNvPr id="144" name="Billede 143" descr="Et billede, der indeholder lys, paraply, himmel, bygning&#10;&#10;Automatisk genereret beskrivelse">
                <a:extLst>
                  <a:ext uri="{FF2B5EF4-FFF2-40B4-BE49-F238E27FC236}">
                    <a16:creationId xmlns:a16="http://schemas.microsoft.com/office/drawing/2014/main" id="{F99FA8AB-0EE3-514F-B41E-24EBCE05A58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39978" y="2804622"/>
                <a:ext cx="1955404" cy="666250"/>
              </a:xfrm>
              <a:prstGeom prst="rect">
                <a:avLst/>
              </a:prstGeom>
            </p:spPr>
          </p:pic>
          <p:pic>
            <p:nvPicPr>
              <p:cNvPr id="145" name="Billede 144" descr="Et billede, der indeholder lys, paraply, himmel, bygning&#10;&#10;Automatisk genereret beskrivelse">
                <a:extLst>
                  <a:ext uri="{FF2B5EF4-FFF2-40B4-BE49-F238E27FC236}">
                    <a16:creationId xmlns:a16="http://schemas.microsoft.com/office/drawing/2014/main" id="{54267439-2C3D-D94E-95BA-92C17815B54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3785" r="1223"/>
              <a:stretch/>
            </p:blipFill>
            <p:spPr>
              <a:xfrm>
                <a:off x="1438206" y="2804622"/>
                <a:ext cx="1857474" cy="666250"/>
              </a:xfrm>
              <a:prstGeom prst="rect">
                <a:avLst/>
              </a:prstGeom>
            </p:spPr>
          </p:pic>
        </p:grpSp>
        <p:sp>
          <p:nvSpPr>
            <p:cNvPr id="146" name="TextBox 10">
              <a:extLst>
                <a:ext uri="{FF2B5EF4-FFF2-40B4-BE49-F238E27FC236}">
                  <a16:creationId xmlns:a16="http://schemas.microsoft.com/office/drawing/2014/main" id="{B66C9AA0-261B-774E-B917-185FAE0AAE66}"/>
                </a:ext>
              </a:extLst>
            </p:cNvPr>
            <p:cNvSpPr txBox="1"/>
            <p:nvPr/>
          </p:nvSpPr>
          <p:spPr>
            <a:xfrm>
              <a:off x="7787575" y="5027922"/>
              <a:ext cx="277292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>
                  <a:solidFill>
                    <a:schemeClr val="bg1"/>
                  </a:solidFill>
                </a:rPr>
                <a:t>Higher degree of automation with safe and collaborative robots</a:t>
              </a:r>
            </a:p>
          </p:txBody>
        </p:sp>
        <p:sp>
          <p:nvSpPr>
            <p:cNvPr id="148" name="TextBox 10">
              <a:extLst>
                <a:ext uri="{FF2B5EF4-FFF2-40B4-BE49-F238E27FC236}">
                  <a16:creationId xmlns:a16="http://schemas.microsoft.com/office/drawing/2014/main" id="{6B34B0B2-CFDC-0A48-9D5F-CB420F90BCB2}"/>
                </a:ext>
              </a:extLst>
            </p:cNvPr>
            <p:cNvSpPr txBox="1"/>
            <p:nvPr/>
          </p:nvSpPr>
          <p:spPr>
            <a:xfrm>
              <a:off x="7749459" y="2944625"/>
              <a:ext cx="264353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>
                  <a:solidFill>
                    <a:schemeClr val="bg1"/>
                  </a:solidFill>
                </a:rPr>
                <a:t>Non-value adding material handling must be streamlined</a:t>
              </a:r>
            </a:p>
          </p:txBody>
        </p:sp>
        <p:grpSp>
          <p:nvGrpSpPr>
            <p:cNvPr id="162" name="Gruppe 161">
              <a:extLst>
                <a:ext uri="{FF2B5EF4-FFF2-40B4-BE49-F238E27FC236}">
                  <a16:creationId xmlns:a16="http://schemas.microsoft.com/office/drawing/2014/main" id="{72371D44-86DD-0140-B0FA-81B573624F99}"/>
                </a:ext>
              </a:extLst>
            </p:cNvPr>
            <p:cNvGrpSpPr/>
            <p:nvPr/>
          </p:nvGrpSpPr>
          <p:grpSpPr>
            <a:xfrm>
              <a:off x="871987" y="3794147"/>
              <a:ext cx="3319896" cy="900712"/>
              <a:chOff x="839978" y="2804622"/>
              <a:chExt cx="2455702" cy="666250"/>
            </a:xfrm>
          </p:grpSpPr>
          <p:pic>
            <p:nvPicPr>
              <p:cNvPr id="163" name="Billede 162" descr="Et billede, der indeholder lys, paraply, himmel, bygning&#10;&#10;Automatisk genereret beskrivelse">
                <a:extLst>
                  <a:ext uri="{FF2B5EF4-FFF2-40B4-BE49-F238E27FC236}">
                    <a16:creationId xmlns:a16="http://schemas.microsoft.com/office/drawing/2014/main" id="{1E3ED795-DB55-8440-920B-3553A0572B8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39978" y="2804622"/>
                <a:ext cx="1955404" cy="666250"/>
              </a:xfrm>
              <a:prstGeom prst="rect">
                <a:avLst/>
              </a:prstGeom>
            </p:spPr>
          </p:pic>
          <p:pic>
            <p:nvPicPr>
              <p:cNvPr id="164" name="Billede 163" descr="Et billede, der indeholder lys, paraply, himmel, bygning&#10;&#10;Automatisk genereret beskrivelse">
                <a:extLst>
                  <a:ext uri="{FF2B5EF4-FFF2-40B4-BE49-F238E27FC236}">
                    <a16:creationId xmlns:a16="http://schemas.microsoft.com/office/drawing/2014/main" id="{CE1D4367-68AD-854E-91DE-C0BC66F91E2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3785" r="1223"/>
              <a:stretch/>
            </p:blipFill>
            <p:spPr>
              <a:xfrm>
                <a:off x="1438206" y="2804622"/>
                <a:ext cx="1857474" cy="666250"/>
              </a:xfrm>
              <a:prstGeom prst="rect">
                <a:avLst/>
              </a:prstGeom>
            </p:spPr>
          </p:pic>
        </p:grpSp>
        <p:sp>
          <p:nvSpPr>
            <p:cNvPr id="165" name="TextBox 10">
              <a:extLst>
                <a:ext uri="{FF2B5EF4-FFF2-40B4-BE49-F238E27FC236}">
                  <a16:creationId xmlns:a16="http://schemas.microsoft.com/office/drawing/2014/main" id="{F618136C-A8EC-FA4B-AEB4-9FA5F3368907}"/>
                </a:ext>
              </a:extLst>
            </p:cNvPr>
            <p:cNvSpPr txBox="1"/>
            <p:nvPr/>
          </p:nvSpPr>
          <p:spPr>
            <a:xfrm>
              <a:off x="966519" y="3982893"/>
              <a:ext cx="261623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>
                  <a:solidFill>
                    <a:schemeClr val="bg1"/>
                  </a:solidFill>
                </a:rPr>
                <a:t>Individualization of consumer needs demands higher variety</a:t>
              </a:r>
            </a:p>
          </p:txBody>
        </p:sp>
        <p:grpSp>
          <p:nvGrpSpPr>
            <p:cNvPr id="166" name="Gruppe 165">
              <a:extLst>
                <a:ext uri="{FF2B5EF4-FFF2-40B4-BE49-F238E27FC236}">
                  <a16:creationId xmlns:a16="http://schemas.microsoft.com/office/drawing/2014/main" id="{69AE2EA2-7610-8C4B-9592-44E598F42E36}"/>
                </a:ext>
              </a:extLst>
            </p:cNvPr>
            <p:cNvGrpSpPr/>
            <p:nvPr/>
          </p:nvGrpSpPr>
          <p:grpSpPr>
            <a:xfrm>
              <a:off x="4268330" y="3794147"/>
              <a:ext cx="3319896" cy="900712"/>
              <a:chOff x="839978" y="2804622"/>
              <a:chExt cx="2455702" cy="666250"/>
            </a:xfrm>
          </p:grpSpPr>
          <p:pic>
            <p:nvPicPr>
              <p:cNvPr id="167" name="Billede 166" descr="Et billede, der indeholder lys, paraply, himmel, bygning&#10;&#10;Automatisk genereret beskrivelse">
                <a:extLst>
                  <a:ext uri="{FF2B5EF4-FFF2-40B4-BE49-F238E27FC236}">
                    <a16:creationId xmlns:a16="http://schemas.microsoft.com/office/drawing/2014/main" id="{CC28811A-FD05-3F47-8C96-809C40699F7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39978" y="2804622"/>
                <a:ext cx="1955404" cy="666250"/>
              </a:xfrm>
              <a:prstGeom prst="rect">
                <a:avLst/>
              </a:prstGeom>
            </p:spPr>
          </p:pic>
          <p:pic>
            <p:nvPicPr>
              <p:cNvPr id="168" name="Billede 167" descr="Et billede, der indeholder lys, paraply, himmel, bygning&#10;&#10;Automatisk genereret beskrivelse">
                <a:extLst>
                  <a:ext uri="{FF2B5EF4-FFF2-40B4-BE49-F238E27FC236}">
                    <a16:creationId xmlns:a16="http://schemas.microsoft.com/office/drawing/2014/main" id="{B68EE069-055E-6C46-B7A9-361B9FFB138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3785" r="1223"/>
              <a:stretch/>
            </p:blipFill>
            <p:spPr>
              <a:xfrm>
                <a:off x="1438206" y="2804622"/>
                <a:ext cx="1857474" cy="666250"/>
              </a:xfrm>
              <a:prstGeom prst="rect">
                <a:avLst/>
              </a:prstGeom>
            </p:spPr>
          </p:pic>
        </p:grpSp>
        <p:sp>
          <p:nvSpPr>
            <p:cNvPr id="169" name="TextBox 10">
              <a:extLst>
                <a:ext uri="{FF2B5EF4-FFF2-40B4-BE49-F238E27FC236}">
                  <a16:creationId xmlns:a16="http://schemas.microsoft.com/office/drawing/2014/main" id="{57132C47-DBDA-C348-B8C2-99BB9BF5ADB7}"/>
                </a:ext>
              </a:extLst>
            </p:cNvPr>
            <p:cNvSpPr txBox="1"/>
            <p:nvPr/>
          </p:nvSpPr>
          <p:spPr>
            <a:xfrm>
              <a:off x="4362862" y="3975422"/>
              <a:ext cx="261623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>
                  <a:solidFill>
                    <a:schemeClr val="bg1"/>
                  </a:solidFill>
                </a:rPr>
                <a:t>High switching cost and</a:t>
              </a:r>
            </a:p>
            <a:p>
              <a:r>
                <a:rPr lang="en-US" sz="1400" b="1">
                  <a:solidFill>
                    <a:schemeClr val="bg1"/>
                  </a:solidFill>
                </a:rPr>
                <a:t>non-flexible solutions</a:t>
              </a:r>
            </a:p>
          </p:txBody>
        </p:sp>
        <p:grpSp>
          <p:nvGrpSpPr>
            <p:cNvPr id="170" name="Gruppe 169">
              <a:extLst>
                <a:ext uri="{FF2B5EF4-FFF2-40B4-BE49-F238E27FC236}">
                  <a16:creationId xmlns:a16="http://schemas.microsoft.com/office/drawing/2014/main" id="{BE0DD88A-9593-4347-BF51-35C9DDB561B7}"/>
                </a:ext>
              </a:extLst>
            </p:cNvPr>
            <p:cNvGrpSpPr/>
            <p:nvPr/>
          </p:nvGrpSpPr>
          <p:grpSpPr>
            <a:xfrm>
              <a:off x="7674721" y="3794147"/>
              <a:ext cx="3319896" cy="900712"/>
              <a:chOff x="839978" y="2804622"/>
              <a:chExt cx="2455702" cy="666250"/>
            </a:xfrm>
          </p:grpSpPr>
          <p:pic>
            <p:nvPicPr>
              <p:cNvPr id="171" name="Billede 170" descr="Et billede, der indeholder lys, paraply, himmel, bygning&#10;&#10;Automatisk genereret beskrivelse">
                <a:extLst>
                  <a:ext uri="{FF2B5EF4-FFF2-40B4-BE49-F238E27FC236}">
                    <a16:creationId xmlns:a16="http://schemas.microsoft.com/office/drawing/2014/main" id="{DC3880A7-674D-274C-BB04-CCE18B02410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39978" y="2804622"/>
                <a:ext cx="1955404" cy="666250"/>
              </a:xfrm>
              <a:prstGeom prst="rect">
                <a:avLst/>
              </a:prstGeom>
            </p:spPr>
          </p:pic>
          <p:pic>
            <p:nvPicPr>
              <p:cNvPr id="172" name="Billede 171" descr="Et billede, der indeholder lys, paraply, himmel, bygning&#10;&#10;Automatisk genereret beskrivelse">
                <a:extLst>
                  <a:ext uri="{FF2B5EF4-FFF2-40B4-BE49-F238E27FC236}">
                    <a16:creationId xmlns:a16="http://schemas.microsoft.com/office/drawing/2014/main" id="{E776C73D-3D67-034B-A454-D8842024D4D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3785" r="1223"/>
              <a:stretch/>
            </p:blipFill>
            <p:spPr>
              <a:xfrm>
                <a:off x="1438206" y="2804622"/>
                <a:ext cx="1857474" cy="666250"/>
              </a:xfrm>
              <a:prstGeom prst="rect">
                <a:avLst/>
              </a:prstGeom>
            </p:spPr>
          </p:pic>
        </p:grpSp>
        <p:sp>
          <p:nvSpPr>
            <p:cNvPr id="173" name="TextBox 10">
              <a:extLst>
                <a:ext uri="{FF2B5EF4-FFF2-40B4-BE49-F238E27FC236}">
                  <a16:creationId xmlns:a16="http://schemas.microsoft.com/office/drawing/2014/main" id="{6FE5DC87-40EC-7049-B0DC-A479D75BBFA9}"/>
                </a:ext>
              </a:extLst>
            </p:cNvPr>
            <p:cNvSpPr txBox="1"/>
            <p:nvPr/>
          </p:nvSpPr>
          <p:spPr>
            <a:xfrm>
              <a:off x="7769253" y="3975422"/>
              <a:ext cx="261623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>
                  <a:solidFill>
                    <a:schemeClr val="bg1"/>
                  </a:solidFill>
                </a:rPr>
                <a:t>Engagement with adaptable, scalable, and open platforms</a:t>
              </a:r>
            </a:p>
          </p:txBody>
        </p:sp>
        <p:sp>
          <p:nvSpPr>
            <p:cNvPr id="45" name="TextBox 10">
              <a:extLst>
                <a:ext uri="{FF2B5EF4-FFF2-40B4-BE49-F238E27FC236}">
                  <a16:creationId xmlns:a16="http://schemas.microsoft.com/office/drawing/2014/main" id="{937D9CA0-5191-744D-BD65-7BDF84EA2B1B}"/>
                </a:ext>
              </a:extLst>
            </p:cNvPr>
            <p:cNvSpPr txBox="1"/>
            <p:nvPr/>
          </p:nvSpPr>
          <p:spPr>
            <a:xfrm>
              <a:off x="984842" y="5013176"/>
              <a:ext cx="237485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>
                  <a:solidFill>
                    <a:schemeClr val="bg1"/>
                  </a:solidFill>
                </a:rPr>
                <a:t>Growing demands and shortage of labo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01336549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E0B18A8D-9CB1-7D4C-B1D2-7541BCC14E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00129" y="6534000"/>
            <a:ext cx="252000" cy="180000"/>
          </a:xfrm>
        </p:spPr>
        <p:txBody>
          <a:bodyPr/>
          <a:lstStyle/>
          <a:p>
            <a:fld id="{8471EAA7-3162-4B69-9563-88D5A3B75B98}" type="slidenum">
              <a:rPr lang="en-US" dirty="0" smtClean="0"/>
              <a:pPr/>
              <a:t>5</a:t>
            </a:fld>
            <a:endParaRPr lang="en-US"/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B0DDE260-C4CA-3846-911A-B8E69D76E4E2}"/>
              </a:ext>
            </a:extLst>
          </p:cNvPr>
          <p:cNvSpPr txBox="1">
            <a:spLocks/>
          </p:cNvSpPr>
          <p:nvPr/>
        </p:nvSpPr>
        <p:spPr>
          <a:xfrm>
            <a:off x="912000" y="2521474"/>
            <a:ext cx="10368000" cy="370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None/>
              <a:defRPr lang="nn-NO" sz="1800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438" indent="-21590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9613" indent="-225425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2350" indent="-236538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100000"/>
              <a:buFont typeface="Arial" panose="020B0604020202020204" pitchFamily="34" charset="0"/>
              <a:buNone/>
              <a:defRPr lang="nn-NO" sz="18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da-DK" sz="8800" b="1" dirty="0">
                <a:solidFill>
                  <a:schemeClr val="accent2"/>
                </a:solidFill>
              </a:rPr>
              <a:t>+700,000</a:t>
            </a:r>
            <a:r>
              <a:rPr lang="da-DK" sz="7200" b="1" dirty="0">
                <a:solidFill>
                  <a:schemeClr val="accent2"/>
                </a:solidFill>
              </a:rPr>
              <a:t> </a:t>
            </a:r>
          </a:p>
          <a:p>
            <a:pPr>
              <a:spcBef>
                <a:spcPts val="0"/>
              </a:spcBef>
            </a:pPr>
            <a:r>
              <a:rPr lang="da-DK" sz="3200" b="1" dirty="0">
                <a:solidFill>
                  <a:schemeClr val="accent2"/>
                </a:solidFill>
              </a:rPr>
              <a:t>logistic </a:t>
            </a:r>
            <a:r>
              <a:rPr lang="da-DK" sz="3200" b="1">
                <a:solidFill>
                  <a:schemeClr val="accent2"/>
                </a:solidFill>
              </a:rPr>
              <a:t>robots sold </a:t>
            </a:r>
            <a:r>
              <a:rPr lang="da-DK" sz="3200" b="1" dirty="0">
                <a:solidFill>
                  <a:schemeClr val="accent2"/>
                </a:solidFill>
              </a:rPr>
              <a:t>in 2022</a:t>
            </a:r>
          </a:p>
          <a:p>
            <a:endParaRPr lang="da-DK" sz="2800" dirty="0"/>
          </a:p>
        </p:txBody>
      </p:sp>
      <p:sp>
        <p:nvSpPr>
          <p:cNvPr id="2" name="Rektangel 1">
            <a:hlinkClick r:id="" action="ppaction://noaction"/>
            <a:extLst>
              <a:ext uri="{FF2B5EF4-FFF2-40B4-BE49-F238E27FC236}">
                <a16:creationId xmlns:a16="http://schemas.microsoft.com/office/drawing/2014/main" id="{43CE5C0F-A8B6-2743-B83C-4B0C3ABE7343}"/>
              </a:ext>
            </a:extLst>
          </p:cNvPr>
          <p:cNvSpPr/>
          <p:nvPr/>
        </p:nvSpPr>
        <p:spPr>
          <a:xfrm>
            <a:off x="10920536" y="144000"/>
            <a:ext cx="1152128" cy="4766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4" name="Titel 14">
            <a:extLst>
              <a:ext uri="{FF2B5EF4-FFF2-40B4-BE49-F238E27FC236}">
                <a16:creationId xmlns:a16="http://schemas.microsoft.com/office/drawing/2014/main" id="{430A50A6-C827-374E-8F8F-4E9A71445625}"/>
              </a:ext>
            </a:extLst>
          </p:cNvPr>
          <p:cNvSpPr txBox="1">
            <a:spLocks/>
          </p:cNvSpPr>
          <p:nvPr/>
        </p:nvSpPr>
        <p:spPr>
          <a:xfrm>
            <a:off x="9211095" y="6093296"/>
            <a:ext cx="2965109" cy="18785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378" rtl="0" eaLnBrk="1" latinLnBrk="0" hangingPunct="1">
              <a:lnSpc>
                <a:spcPts val="4300"/>
              </a:lnSpc>
              <a:spcBef>
                <a:spcPct val="0"/>
              </a:spcBef>
              <a:buNone/>
              <a:defRPr lang="nn-NO" sz="4000" b="0" i="0" kern="1200" cap="none" spc="0" baseline="0" noProof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a-DK" sz="1200"/>
              <a:t>The International </a:t>
            </a:r>
            <a:r>
              <a:rPr lang="da-DK" sz="1200" err="1"/>
              <a:t>Federation</a:t>
            </a:r>
            <a:r>
              <a:rPr lang="da-DK" sz="1200"/>
              <a:t> of </a:t>
            </a:r>
            <a:r>
              <a:rPr lang="da-DK" sz="1200" err="1"/>
              <a:t>Robotics</a:t>
            </a:r>
            <a:r>
              <a:rPr lang="da-DK" sz="1200"/>
              <a:t> </a:t>
            </a:r>
          </a:p>
        </p:txBody>
      </p:sp>
      <p:sp>
        <p:nvSpPr>
          <p:cNvPr id="15" name="Text Placeholder 1">
            <a:extLst>
              <a:ext uri="{FF2B5EF4-FFF2-40B4-BE49-F238E27FC236}">
                <a16:creationId xmlns:a16="http://schemas.microsoft.com/office/drawing/2014/main" id="{5B40740D-8CF6-B34E-9C86-74848257D207}"/>
              </a:ext>
            </a:extLst>
          </p:cNvPr>
          <p:cNvSpPr txBox="1">
            <a:spLocks/>
          </p:cNvSpPr>
          <p:nvPr/>
        </p:nvSpPr>
        <p:spPr>
          <a:xfrm>
            <a:off x="7039538" y="1700808"/>
            <a:ext cx="4459312" cy="370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None/>
              <a:defRPr lang="nn-NO" sz="1800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438" indent="-21590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9613" indent="-225425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2350" indent="-236538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100000"/>
              <a:buFont typeface="Arial" panose="020B0604020202020204" pitchFamily="34" charset="0"/>
              <a:buNone/>
              <a:defRPr lang="nn-NO" sz="18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a-DK" sz="17800" b="1">
                <a:solidFill>
                  <a:schemeClr val="accent1"/>
                </a:solidFill>
              </a:rPr>
              <a:t>31%</a:t>
            </a:r>
          </a:p>
        </p:txBody>
      </p:sp>
      <p:sp>
        <p:nvSpPr>
          <p:cNvPr id="16" name="Text Placeholder 1">
            <a:extLst>
              <a:ext uri="{FF2B5EF4-FFF2-40B4-BE49-F238E27FC236}">
                <a16:creationId xmlns:a16="http://schemas.microsoft.com/office/drawing/2014/main" id="{0B72F1DA-803B-9440-9A74-97BBB791A29E}"/>
              </a:ext>
            </a:extLst>
          </p:cNvPr>
          <p:cNvSpPr txBox="1">
            <a:spLocks/>
          </p:cNvSpPr>
          <p:nvPr/>
        </p:nvSpPr>
        <p:spPr>
          <a:xfrm>
            <a:off x="7039538" y="3872508"/>
            <a:ext cx="4459312" cy="370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None/>
              <a:defRPr lang="nn-NO" sz="1800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438" indent="-21590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9613" indent="-225425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2350" indent="-236538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100000"/>
              <a:buFont typeface="Arial" panose="020B0604020202020204" pitchFamily="34" charset="0"/>
              <a:buNone/>
              <a:defRPr lang="nn-NO" sz="18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da-DK" sz="3200" b="1">
                <a:solidFill>
                  <a:schemeClr val="accent2"/>
                </a:solidFill>
              </a:rPr>
              <a:t>In </a:t>
            </a:r>
            <a:r>
              <a:rPr lang="da-DK" sz="3200" b="1" err="1">
                <a:solidFill>
                  <a:schemeClr val="accent2"/>
                </a:solidFill>
              </a:rPr>
              <a:t>expected</a:t>
            </a:r>
            <a:r>
              <a:rPr lang="da-DK" sz="3200" b="1">
                <a:solidFill>
                  <a:schemeClr val="accent2"/>
                </a:solidFill>
              </a:rPr>
              <a:t> CAGR for</a:t>
            </a:r>
          </a:p>
          <a:p>
            <a:pPr algn="ctr">
              <a:spcBef>
                <a:spcPts val="0"/>
              </a:spcBef>
            </a:pPr>
            <a:r>
              <a:rPr lang="da-DK" sz="3200" b="1">
                <a:solidFill>
                  <a:schemeClr val="accent2"/>
                </a:solidFill>
              </a:rPr>
              <a:t>2020-2023</a:t>
            </a:r>
          </a:p>
          <a:p>
            <a:pPr algn="ctr"/>
            <a:endParaRPr lang="da-DK" sz="17800" b="1">
              <a:solidFill>
                <a:schemeClr val="accent2"/>
              </a:solidFill>
            </a:endParaRPr>
          </a:p>
        </p:txBody>
      </p:sp>
      <p:sp>
        <p:nvSpPr>
          <p:cNvPr id="21" name="Parallelogram 20">
            <a:hlinkClick r:id="" action="ppaction://noaction"/>
            <a:extLst>
              <a:ext uri="{FF2B5EF4-FFF2-40B4-BE49-F238E27FC236}">
                <a16:creationId xmlns:a16="http://schemas.microsoft.com/office/drawing/2014/main" id="{0631D7F8-B200-8144-87FC-7E3FE8B5F2DF}"/>
              </a:ext>
            </a:extLst>
          </p:cNvPr>
          <p:cNvSpPr/>
          <p:nvPr/>
        </p:nvSpPr>
        <p:spPr>
          <a:xfrm>
            <a:off x="6625596" y="495970"/>
            <a:ext cx="3587678" cy="502156"/>
          </a:xfrm>
          <a:prstGeom prst="parallelogram">
            <a:avLst>
              <a:gd name="adj" fmla="val 1527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BC7D83CD-9D7F-7A4E-919C-9B9286C618DD}"/>
              </a:ext>
            </a:extLst>
          </p:cNvPr>
          <p:cNvSpPr txBox="1">
            <a:spLocks/>
          </p:cNvSpPr>
          <p:nvPr/>
        </p:nvSpPr>
        <p:spPr>
          <a:xfrm>
            <a:off x="4079776" y="1700808"/>
            <a:ext cx="4459312" cy="370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None/>
              <a:defRPr lang="nn-NO" sz="1800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438" indent="-21590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9613" indent="-225425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2350" indent="-236538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3"/>
              </a:buBlip>
              <a:defRPr lang="nn-NO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100000"/>
              <a:buFont typeface="Arial" panose="020B0604020202020204" pitchFamily="34" charset="0"/>
              <a:buNone/>
              <a:defRPr lang="nn-NO" sz="18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a-DK" sz="17800" b="1" err="1">
                <a:solidFill>
                  <a:schemeClr val="accent1"/>
                </a:solidFill>
              </a:rPr>
              <a:t>=</a:t>
            </a:r>
            <a:endParaRPr lang="da-DK" sz="17800" b="1">
              <a:solidFill>
                <a:schemeClr val="accent1"/>
              </a:solidFill>
            </a:endParaRPr>
          </a:p>
        </p:txBody>
      </p:sp>
      <p:sp>
        <p:nvSpPr>
          <p:cNvPr id="18" name="Titel 14">
            <a:extLst>
              <a:ext uri="{FF2B5EF4-FFF2-40B4-BE49-F238E27FC236}">
                <a16:creationId xmlns:a16="http://schemas.microsoft.com/office/drawing/2014/main" id="{0ACB2AFE-1DC8-5C4C-A483-9A25EED469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228" y="936000"/>
            <a:ext cx="9444236" cy="576000"/>
          </a:xfrm>
        </p:spPr>
        <p:txBody>
          <a:bodyPr/>
          <a:lstStyle/>
          <a:p>
            <a:r>
              <a:rPr lang="da-DK" err="1"/>
              <a:t>Internal</a:t>
            </a:r>
            <a:r>
              <a:rPr lang="da-DK"/>
              <a:t> </a:t>
            </a:r>
            <a:r>
              <a:rPr lang="da-DK" err="1"/>
              <a:t>logistics</a:t>
            </a:r>
            <a:r>
              <a:rPr lang="da-DK"/>
              <a:t> </a:t>
            </a:r>
            <a:r>
              <a:rPr lang="da-DK" b="1"/>
              <a:t>in the Future</a:t>
            </a:r>
          </a:p>
        </p:txBody>
      </p:sp>
    </p:spTree>
    <p:extLst>
      <p:ext uri="{BB962C8B-B14F-4D97-AF65-F5344CB8AC3E}">
        <p14:creationId xmlns:p14="http://schemas.microsoft.com/office/powerpoint/2010/main" val="1637315538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7EC044D-8A72-4AD5-A018-747AFDF6BA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7EC044D-8A72-4AD5-A018-747AFDF6BA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9" name="Picture 98">
            <a:extLst>
              <a:ext uri="{FF2B5EF4-FFF2-40B4-BE49-F238E27FC236}">
                <a16:creationId xmlns:a16="http://schemas.microsoft.com/office/drawing/2014/main" id="{8C0EB452-F300-4CC2-8A08-E8EB4185D406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17" t="19611" r="44762" b="65571"/>
          <a:stretch/>
        </p:blipFill>
        <p:spPr>
          <a:xfrm>
            <a:off x="698500" y="1665288"/>
            <a:ext cx="3732530" cy="658026"/>
          </a:xfrm>
          <a:prstGeom prst="rect">
            <a:avLst/>
          </a:prstGeom>
        </p:spPr>
      </p:pic>
      <p:grpSp>
        <p:nvGrpSpPr>
          <p:cNvPr id="43" name="Group 42">
            <a:extLst>
              <a:ext uri="{FF2B5EF4-FFF2-40B4-BE49-F238E27FC236}">
                <a16:creationId xmlns:a16="http://schemas.microsoft.com/office/drawing/2014/main" id="{CEA86ADC-F53D-45D2-88B3-1756812A69A9}"/>
              </a:ext>
            </a:extLst>
          </p:cNvPr>
          <p:cNvGrpSpPr/>
          <p:nvPr/>
        </p:nvGrpSpPr>
        <p:grpSpPr>
          <a:xfrm>
            <a:off x="4790459" y="2495862"/>
            <a:ext cx="6909670" cy="3270387"/>
            <a:chOff x="6247974" y="1772816"/>
            <a:chExt cx="5392642" cy="2552369"/>
          </a:xfrm>
        </p:grpSpPr>
        <p:pic>
          <p:nvPicPr>
            <p:cNvPr id="45" name="Billede 4">
              <a:extLst>
                <a:ext uri="{FF2B5EF4-FFF2-40B4-BE49-F238E27FC236}">
                  <a16:creationId xmlns:a16="http://schemas.microsoft.com/office/drawing/2014/main" id="{2C01990B-73B6-4033-90C1-4EC3A200619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47974" y="1772816"/>
              <a:ext cx="5392642" cy="2552369"/>
            </a:xfrm>
            <a:prstGeom prst="rect">
              <a:avLst/>
            </a:prstGeom>
            <a:solidFill>
              <a:schemeClr val="accent2"/>
            </a:solidFill>
          </p:spPr>
        </p:pic>
        <p:grpSp>
          <p:nvGrpSpPr>
            <p:cNvPr id="46" name="Gruppe 5">
              <a:extLst>
                <a:ext uri="{FF2B5EF4-FFF2-40B4-BE49-F238E27FC236}">
                  <a16:creationId xmlns:a16="http://schemas.microsoft.com/office/drawing/2014/main" id="{37014317-4D67-43DE-ADBA-C6DDC28CAAB0}"/>
                </a:ext>
              </a:extLst>
            </p:cNvPr>
            <p:cNvGrpSpPr/>
            <p:nvPr/>
          </p:nvGrpSpPr>
          <p:grpSpPr>
            <a:xfrm>
              <a:off x="6822282" y="2340781"/>
              <a:ext cx="4287474" cy="1584272"/>
              <a:chOff x="7297804" y="2076725"/>
              <a:chExt cx="4287474" cy="1584272"/>
            </a:xfrm>
            <a:solidFill>
              <a:schemeClr val="accent2"/>
            </a:solidFill>
          </p:grpSpPr>
          <p:grpSp>
            <p:nvGrpSpPr>
              <p:cNvPr id="118" name="Gruppe 6">
                <a:extLst>
                  <a:ext uri="{FF2B5EF4-FFF2-40B4-BE49-F238E27FC236}">
                    <a16:creationId xmlns:a16="http://schemas.microsoft.com/office/drawing/2014/main" id="{F2ED9119-ADBE-4AA8-977E-3A1082528330}"/>
                  </a:ext>
                </a:extLst>
              </p:cNvPr>
              <p:cNvGrpSpPr/>
              <p:nvPr/>
            </p:nvGrpSpPr>
            <p:grpSpPr>
              <a:xfrm>
                <a:off x="7297804" y="2127627"/>
                <a:ext cx="4287474" cy="1533370"/>
                <a:chOff x="1062843" y="2341210"/>
                <a:chExt cx="4306908" cy="1608104"/>
              </a:xfrm>
              <a:grpFill/>
            </p:grpSpPr>
            <p:sp>
              <p:nvSpPr>
                <p:cNvPr id="125" name="Ellipse 13">
                  <a:extLst>
                    <a:ext uri="{FF2B5EF4-FFF2-40B4-BE49-F238E27FC236}">
                      <a16:creationId xmlns:a16="http://schemas.microsoft.com/office/drawing/2014/main" id="{04758854-8738-492D-A99D-8D6250672858}"/>
                    </a:ext>
                  </a:extLst>
                </p:cNvPr>
                <p:cNvSpPr/>
                <p:nvPr/>
              </p:nvSpPr>
              <p:spPr>
                <a:xfrm>
                  <a:off x="5208471" y="3856020"/>
                  <a:ext cx="82800" cy="82800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>
                    <a:solidFill>
                      <a:schemeClr val="accent6"/>
                    </a:solidFill>
                  </a:endParaRPr>
                </a:p>
              </p:txBody>
            </p:sp>
            <p:sp>
              <p:nvSpPr>
                <p:cNvPr id="126" name="Ellipse 15">
                  <a:extLst>
                    <a:ext uri="{FF2B5EF4-FFF2-40B4-BE49-F238E27FC236}">
                      <a16:creationId xmlns:a16="http://schemas.microsoft.com/office/drawing/2014/main" id="{6EAE3F81-314F-4AD9-898D-11A3184312E7}"/>
                    </a:ext>
                  </a:extLst>
                </p:cNvPr>
                <p:cNvSpPr/>
                <p:nvPr/>
              </p:nvSpPr>
              <p:spPr>
                <a:xfrm>
                  <a:off x="4234390" y="2905762"/>
                  <a:ext cx="82800" cy="82800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>
                    <a:solidFill>
                      <a:schemeClr val="accent6"/>
                    </a:solidFill>
                  </a:endParaRPr>
                </a:p>
              </p:txBody>
            </p:sp>
            <p:sp>
              <p:nvSpPr>
                <p:cNvPr id="127" name="Ellipse 16">
                  <a:extLst>
                    <a:ext uri="{FF2B5EF4-FFF2-40B4-BE49-F238E27FC236}">
                      <a16:creationId xmlns:a16="http://schemas.microsoft.com/office/drawing/2014/main" id="{E2E70225-CAD1-40D9-B5AA-B9404BFD6BA1}"/>
                    </a:ext>
                  </a:extLst>
                </p:cNvPr>
                <p:cNvSpPr/>
                <p:nvPr/>
              </p:nvSpPr>
              <p:spPr>
                <a:xfrm>
                  <a:off x="4935583" y="2733335"/>
                  <a:ext cx="82800" cy="82800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8" name="Ellipse 17">
                  <a:extLst>
                    <a:ext uri="{FF2B5EF4-FFF2-40B4-BE49-F238E27FC236}">
                      <a16:creationId xmlns:a16="http://schemas.microsoft.com/office/drawing/2014/main" id="{31342EE4-0A34-4EA2-8035-717993B6BDD9}"/>
                    </a:ext>
                  </a:extLst>
                </p:cNvPr>
                <p:cNvSpPr/>
                <p:nvPr/>
              </p:nvSpPr>
              <p:spPr>
                <a:xfrm>
                  <a:off x="4753080" y="2787932"/>
                  <a:ext cx="82800" cy="82800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29" name="Ellipse 18">
                  <a:extLst>
                    <a:ext uri="{FF2B5EF4-FFF2-40B4-BE49-F238E27FC236}">
                      <a16:creationId xmlns:a16="http://schemas.microsoft.com/office/drawing/2014/main" id="{AC5BE7E2-6BBE-4522-BA99-38D199C82690}"/>
                    </a:ext>
                  </a:extLst>
                </p:cNvPr>
                <p:cNvSpPr/>
                <p:nvPr/>
              </p:nvSpPr>
              <p:spPr>
                <a:xfrm>
                  <a:off x="1717649" y="2362419"/>
                  <a:ext cx="82800" cy="82800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>
                    <a:solidFill>
                      <a:schemeClr val="accent6"/>
                    </a:solidFill>
                  </a:endParaRPr>
                </a:p>
              </p:txBody>
            </p:sp>
            <p:sp>
              <p:nvSpPr>
                <p:cNvPr id="130" name="Ellipse 19">
                  <a:extLst>
                    <a:ext uri="{FF2B5EF4-FFF2-40B4-BE49-F238E27FC236}">
                      <a16:creationId xmlns:a16="http://schemas.microsoft.com/office/drawing/2014/main" id="{0EF7C8CA-E1BF-47FA-B10C-4F3536867F66}"/>
                    </a:ext>
                  </a:extLst>
                </p:cNvPr>
                <p:cNvSpPr/>
                <p:nvPr/>
              </p:nvSpPr>
              <p:spPr>
                <a:xfrm>
                  <a:off x="1371258" y="2341210"/>
                  <a:ext cx="82800" cy="82800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>
                    <a:solidFill>
                      <a:schemeClr val="accent6"/>
                    </a:solidFill>
                  </a:endParaRPr>
                </a:p>
              </p:txBody>
            </p:sp>
            <p:sp>
              <p:nvSpPr>
                <p:cNvPr id="131" name="Ellipse 20">
                  <a:extLst>
                    <a:ext uri="{FF2B5EF4-FFF2-40B4-BE49-F238E27FC236}">
                      <a16:creationId xmlns:a16="http://schemas.microsoft.com/office/drawing/2014/main" id="{395383A1-3DDF-45C4-9714-BC0C74398EC2}"/>
                    </a:ext>
                  </a:extLst>
                </p:cNvPr>
                <p:cNvSpPr/>
                <p:nvPr/>
              </p:nvSpPr>
              <p:spPr>
                <a:xfrm>
                  <a:off x="1559384" y="2536305"/>
                  <a:ext cx="82800" cy="82800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>
                    <a:solidFill>
                      <a:schemeClr val="accent6"/>
                    </a:solidFill>
                  </a:endParaRPr>
                </a:p>
              </p:txBody>
            </p:sp>
            <p:sp>
              <p:nvSpPr>
                <p:cNvPr id="132" name="Ellipse 21">
                  <a:extLst>
                    <a:ext uri="{FF2B5EF4-FFF2-40B4-BE49-F238E27FC236}">
                      <a16:creationId xmlns:a16="http://schemas.microsoft.com/office/drawing/2014/main" id="{E4863230-5971-4918-A3ED-0F2D05CC8B59}"/>
                    </a:ext>
                  </a:extLst>
                </p:cNvPr>
                <p:cNvSpPr/>
                <p:nvPr/>
              </p:nvSpPr>
              <p:spPr>
                <a:xfrm>
                  <a:off x="1119874" y="2643734"/>
                  <a:ext cx="82800" cy="82800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>
                    <a:solidFill>
                      <a:schemeClr val="accent6"/>
                    </a:solidFill>
                  </a:endParaRPr>
                </a:p>
              </p:txBody>
            </p:sp>
            <p:sp>
              <p:nvSpPr>
                <p:cNvPr id="133" name="Ellipse 22">
                  <a:extLst>
                    <a:ext uri="{FF2B5EF4-FFF2-40B4-BE49-F238E27FC236}">
                      <a16:creationId xmlns:a16="http://schemas.microsoft.com/office/drawing/2014/main" id="{55E92195-84B2-4C49-B850-9A4733FC8D78}"/>
                    </a:ext>
                  </a:extLst>
                </p:cNvPr>
                <p:cNvSpPr/>
                <p:nvPr/>
              </p:nvSpPr>
              <p:spPr>
                <a:xfrm>
                  <a:off x="1097616" y="2347278"/>
                  <a:ext cx="82800" cy="82800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>
                    <a:solidFill>
                      <a:schemeClr val="accent6"/>
                    </a:solidFill>
                  </a:endParaRPr>
                </a:p>
              </p:txBody>
            </p:sp>
            <p:sp>
              <p:nvSpPr>
                <p:cNvPr id="134" name="Ellipse 23">
                  <a:extLst>
                    <a:ext uri="{FF2B5EF4-FFF2-40B4-BE49-F238E27FC236}">
                      <a16:creationId xmlns:a16="http://schemas.microsoft.com/office/drawing/2014/main" id="{1E8F8C06-5455-45DF-8B60-D2AF6A3381B5}"/>
                    </a:ext>
                  </a:extLst>
                </p:cNvPr>
                <p:cNvSpPr/>
                <p:nvPr/>
              </p:nvSpPr>
              <p:spPr>
                <a:xfrm>
                  <a:off x="5286951" y="3866514"/>
                  <a:ext cx="82800" cy="82800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>
                    <a:solidFill>
                      <a:schemeClr val="accent6"/>
                    </a:solidFill>
                  </a:endParaRPr>
                </a:p>
              </p:txBody>
            </p:sp>
            <p:sp>
              <p:nvSpPr>
                <p:cNvPr id="135" name="Ellipse 24">
                  <a:extLst>
                    <a:ext uri="{FF2B5EF4-FFF2-40B4-BE49-F238E27FC236}">
                      <a16:creationId xmlns:a16="http://schemas.microsoft.com/office/drawing/2014/main" id="{1150E647-08E2-435D-8F54-C782670E5DB3}"/>
                    </a:ext>
                  </a:extLst>
                </p:cNvPr>
                <p:cNvSpPr/>
                <p:nvPr/>
              </p:nvSpPr>
              <p:spPr>
                <a:xfrm>
                  <a:off x="1622460" y="2494218"/>
                  <a:ext cx="82800" cy="82800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>
                    <a:solidFill>
                      <a:schemeClr val="accent6"/>
                    </a:solidFill>
                  </a:endParaRPr>
                </a:p>
              </p:txBody>
            </p:sp>
            <p:sp>
              <p:nvSpPr>
                <p:cNvPr id="136" name="Ellipse 25">
                  <a:extLst>
                    <a:ext uri="{FF2B5EF4-FFF2-40B4-BE49-F238E27FC236}">
                      <a16:creationId xmlns:a16="http://schemas.microsoft.com/office/drawing/2014/main" id="{EB8467AE-28AD-43DA-82A4-A33FF693E6A6}"/>
                    </a:ext>
                  </a:extLst>
                </p:cNvPr>
                <p:cNvSpPr/>
                <p:nvPr/>
              </p:nvSpPr>
              <p:spPr>
                <a:xfrm>
                  <a:off x="1529713" y="2562156"/>
                  <a:ext cx="82800" cy="82800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>
                    <a:solidFill>
                      <a:schemeClr val="accent6"/>
                    </a:solidFill>
                  </a:endParaRPr>
                </a:p>
              </p:txBody>
            </p:sp>
            <p:sp>
              <p:nvSpPr>
                <p:cNvPr id="137" name="Ellipse 26">
                  <a:extLst>
                    <a:ext uri="{FF2B5EF4-FFF2-40B4-BE49-F238E27FC236}">
                      <a16:creationId xmlns:a16="http://schemas.microsoft.com/office/drawing/2014/main" id="{AE8816B3-2B2E-4495-BB0C-FDC2C8265B16}"/>
                    </a:ext>
                  </a:extLst>
                </p:cNvPr>
                <p:cNvSpPr/>
                <p:nvPr/>
              </p:nvSpPr>
              <p:spPr>
                <a:xfrm>
                  <a:off x="1546040" y="2365740"/>
                  <a:ext cx="82800" cy="82800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>
                    <a:solidFill>
                      <a:schemeClr val="accent6"/>
                    </a:solidFill>
                  </a:endParaRPr>
                </a:p>
              </p:txBody>
            </p:sp>
            <p:sp>
              <p:nvSpPr>
                <p:cNvPr id="138" name="Ellipse 27">
                  <a:extLst>
                    <a:ext uri="{FF2B5EF4-FFF2-40B4-BE49-F238E27FC236}">
                      <a16:creationId xmlns:a16="http://schemas.microsoft.com/office/drawing/2014/main" id="{D266EF19-4244-490A-81DF-08C32E542334}"/>
                    </a:ext>
                  </a:extLst>
                </p:cNvPr>
                <p:cNvSpPr/>
                <p:nvPr/>
              </p:nvSpPr>
              <p:spPr>
                <a:xfrm>
                  <a:off x="1062843" y="2544108"/>
                  <a:ext cx="82800" cy="82800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>
                    <a:solidFill>
                      <a:schemeClr val="accent6"/>
                    </a:solidFill>
                  </a:endParaRPr>
                </a:p>
              </p:txBody>
            </p:sp>
            <p:sp>
              <p:nvSpPr>
                <p:cNvPr id="139" name="Ellipse 28">
                  <a:extLst>
                    <a:ext uri="{FF2B5EF4-FFF2-40B4-BE49-F238E27FC236}">
                      <a16:creationId xmlns:a16="http://schemas.microsoft.com/office/drawing/2014/main" id="{A0087F9A-E962-4AEF-9CFC-22392A59462B}"/>
                    </a:ext>
                  </a:extLst>
                </p:cNvPr>
                <p:cNvSpPr/>
                <p:nvPr/>
              </p:nvSpPr>
              <p:spPr>
                <a:xfrm>
                  <a:off x="1423312" y="2500109"/>
                  <a:ext cx="82800" cy="82800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>
                    <a:solidFill>
                      <a:schemeClr val="accent6"/>
                    </a:solidFill>
                  </a:endParaRPr>
                </a:p>
              </p:txBody>
            </p:sp>
            <p:sp>
              <p:nvSpPr>
                <p:cNvPr id="140" name="Ellipse 29">
                  <a:extLst>
                    <a:ext uri="{FF2B5EF4-FFF2-40B4-BE49-F238E27FC236}">
                      <a16:creationId xmlns:a16="http://schemas.microsoft.com/office/drawing/2014/main" id="{2030C56C-5129-4129-A9B0-A5A3A5964B3D}"/>
                    </a:ext>
                  </a:extLst>
                </p:cNvPr>
                <p:cNvSpPr/>
                <p:nvPr/>
              </p:nvSpPr>
              <p:spPr>
                <a:xfrm>
                  <a:off x="1694577" y="2446723"/>
                  <a:ext cx="82800" cy="82800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>
                    <a:solidFill>
                      <a:schemeClr val="accent6"/>
                    </a:solidFill>
                  </a:endParaRPr>
                </a:p>
              </p:txBody>
            </p:sp>
            <p:sp>
              <p:nvSpPr>
                <p:cNvPr id="141" name="Ellipse 30">
                  <a:extLst>
                    <a:ext uri="{FF2B5EF4-FFF2-40B4-BE49-F238E27FC236}">
                      <a16:creationId xmlns:a16="http://schemas.microsoft.com/office/drawing/2014/main" id="{A04F8956-9E80-4B5E-BCFC-9E73FF45BB2E}"/>
                    </a:ext>
                  </a:extLst>
                </p:cNvPr>
                <p:cNvSpPr/>
                <p:nvPr/>
              </p:nvSpPr>
              <p:spPr>
                <a:xfrm>
                  <a:off x="1330991" y="2474999"/>
                  <a:ext cx="82800" cy="82800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>
                    <a:solidFill>
                      <a:schemeClr val="accent6"/>
                    </a:solidFill>
                  </a:endParaRPr>
                </a:p>
              </p:txBody>
            </p:sp>
            <p:sp>
              <p:nvSpPr>
                <p:cNvPr id="142" name="Ellipse 31">
                  <a:extLst>
                    <a:ext uri="{FF2B5EF4-FFF2-40B4-BE49-F238E27FC236}">
                      <a16:creationId xmlns:a16="http://schemas.microsoft.com/office/drawing/2014/main" id="{9F212882-CEA6-40B7-97A3-2889F50A40A1}"/>
                    </a:ext>
                  </a:extLst>
                </p:cNvPr>
                <p:cNvSpPr/>
                <p:nvPr/>
              </p:nvSpPr>
              <p:spPr>
                <a:xfrm>
                  <a:off x="3480686" y="2585529"/>
                  <a:ext cx="82800" cy="82800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>
                    <a:solidFill>
                      <a:schemeClr val="accent6"/>
                    </a:solidFill>
                  </a:endParaRPr>
                </a:p>
              </p:txBody>
            </p:sp>
            <p:sp>
              <p:nvSpPr>
                <p:cNvPr id="143" name="Ellipse 32">
                  <a:extLst>
                    <a:ext uri="{FF2B5EF4-FFF2-40B4-BE49-F238E27FC236}">
                      <a16:creationId xmlns:a16="http://schemas.microsoft.com/office/drawing/2014/main" id="{C66C5F43-B76A-4F93-8F45-DF0889337594}"/>
                    </a:ext>
                  </a:extLst>
                </p:cNvPr>
                <p:cNvSpPr/>
                <p:nvPr/>
              </p:nvSpPr>
              <p:spPr>
                <a:xfrm>
                  <a:off x="4841056" y="2551769"/>
                  <a:ext cx="82800" cy="82800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44" name="Ellipse 33">
                  <a:extLst>
                    <a:ext uri="{FF2B5EF4-FFF2-40B4-BE49-F238E27FC236}">
                      <a16:creationId xmlns:a16="http://schemas.microsoft.com/office/drawing/2014/main" id="{D890F10E-83C4-432F-942A-810A04FDE9BB}"/>
                    </a:ext>
                  </a:extLst>
                </p:cNvPr>
                <p:cNvSpPr/>
                <p:nvPr/>
              </p:nvSpPr>
              <p:spPr>
                <a:xfrm>
                  <a:off x="3442225" y="2455252"/>
                  <a:ext cx="82800" cy="82800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>
                    <a:solidFill>
                      <a:schemeClr val="accent6"/>
                    </a:solidFill>
                  </a:endParaRPr>
                </a:p>
              </p:txBody>
            </p:sp>
            <p:sp>
              <p:nvSpPr>
                <p:cNvPr id="145" name="Ellipse 34">
                  <a:extLst>
                    <a:ext uri="{FF2B5EF4-FFF2-40B4-BE49-F238E27FC236}">
                      <a16:creationId xmlns:a16="http://schemas.microsoft.com/office/drawing/2014/main" id="{D3CE39C0-896E-4F50-8AF5-DF43DDD5E1F4}"/>
                    </a:ext>
                  </a:extLst>
                </p:cNvPr>
                <p:cNvSpPr/>
                <p:nvPr/>
              </p:nvSpPr>
              <p:spPr>
                <a:xfrm>
                  <a:off x="4945342" y="2493476"/>
                  <a:ext cx="82800" cy="82800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sp>
            <p:nvSpPr>
              <p:cNvPr id="119" name="Ellipse 7">
                <a:extLst>
                  <a:ext uri="{FF2B5EF4-FFF2-40B4-BE49-F238E27FC236}">
                    <a16:creationId xmlns:a16="http://schemas.microsoft.com/office/drawing/2014/main" id="{857065C2-3029-4FFB-822B-ADE1DA8E42DF}"/>
                  </a:ext>
                </a:extLst>
              </p:cNvPr>
              <p:cNvSpPr/>
              <p:nvPr/>
            </p:nvSpPr>
            <p:spPr>
              <a:xfrm>
                <a:off x="7405913" y="2321179"/>
                <a:ext cx="82427" cy="78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schemeClr val="accent6"/>
                  </a:solidFill>
                </a:endParaRPr>
              </a:p>
            </p:txBody>
          </p:sp>
          <p:sp>
            <p:nvSpPr>
              <p:cNvPr id="120" name="Ellipse 8">
                <a:extLst>
                  <a:ext uri="{FF2B5EF4-FFF2-40B4-BE49-F238E27FC236}">
                    <a16:creationId xmlns:a16="http://schemas.microsoft.com/office/drawing/2014/main" id="{ECEFF247-98EE-44F3-B93B-F07419A99FB8}"/>
                  </a:ext>
                </a:extLst>
              </p:cNvPr>
              <p:cNvSpPr/>
              <p:nvPr/>
            </p:nvSpPr>
            <p:spPr>
              <a:xfrm>
                <a:off x="7727485" y="2263188"/>
                <a:ext cx="82427" cy="78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schemeClr val="accent6"/>
                  </a:solidFill>
                </a:endParaRPr>
              </a:p>
            </p:txBody>
          </p:sp>
          <p:sp>
            <p:nvSpPr>
              <p:cNvPr id="121" name="Ellipse 9">
                <a:extLst>
                  <a:ext uri="{FF2B5EF4-FFF2-40B4-BE49-F238E27FC236}">
                    <a16:creationId xmlns:a16="http://schemas.microsoft.com/office/drawing/2014/main" id="{FCCEB697-3BC7-41CF-A953-C462253F9C4C}"/>
                  </a:ext>
                </a:extLst>
              </p:cNvPr>
              <p:cNvSpPr/>
              <p:nvPr/>
            </p:nvSpPr>
            <p:spPr>
              <a:xfrm>
                <a:off x="7684705" y="2151017"/>
                <a:ext cx="82427" cy="78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schemeClr val="accent6"/>
                  </a:solidFill>
                </a:endParaRPr>
              </a:p>
            </p:txBody>
          </p:sp>
          <p:sp>
            <p:nvSpPr>
              <p:cNvPr id="122" name="Ellipse 10">
                <a:extLst>
                  <a:ext uri="{FF2B5EF4-FFF2-40B4-BE49-F238E27FC236}">
                    <a16:creationId xmlns:a16="http://schemas.microsoft.com/office/drawing/2014/main" id="{4DFF0220-2CAF-4EAB-B0ED-90E383647CCE}"/>
                  </a:ext>
                </a:extLst>
              </p:cNvPr>
              <p:cNvSpPr/>
              <p:nvPr/>
            </p:nvSpPr>
            <p:spPr>
              <a:xfrm>
                <a:off x="7553492" y="2101742"/>
                <a:ext cx="82427" cy="78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schemeClr val="accent6"/>
                  </a:solidFill>
                </a:endParaRPr>
              </a:p>
            </p:txBody>
          </p:sp>
          <p:sp>
            <p:nvSpPr>
              <p:cNvPr id="123" name="Ellipse 11">
                <a:extLst>
                  <a:ext uri="{FF2B5EF4-FFF2-40B4-BE49-F238E27FC236}">
                    <a16:creationId xmlns:a16="http://schemas.microsoft.com/office/drawing/2014/main" id="{B069C8EF-18A9-4EF3-BBFB-1F41BB004148}"/>
                  </a:ext>
                </a:extLst>
              </p:cNvPr>
              <p:cNvSpPr/>
              <p:nvPr/>
            </p:nvSpPr>
            <p:spPr>
              <a:xfrm>
                <a:off x="7778821" y="2076725"/>
                <a:ext cx="82426" cy="78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>
                  <a:solidFill>
                    <a:schemeClr val="accent6"/>
                  </a:solidFill>
                </a:endParaRPr>
              </a:p>
            </p:txBody>
          </p:sp>
          <p:sp>
            <p:nvSpPr>
              <p:cNvPr id="124" name="Ellipse 12">
                <a:extLst>
                  <a:ext uri="{FF2B5EF4-FFF2-40B4-BE49-F238E27FC236}">
                    <a16:creationId xmlns:a16="http://schemas.microsoft.com/office/drawing/2014/main" id="{F8008E53-03E8-4B89-83ED-0739D4E9DE6F}"/>
                  </a:ext>
                </a:extLst>
              </p:cNvPr>
              <p:cNvSpPr/>
              <p:nvPr/>
            </p:nvSpPr>
            <p:spPr>
              <a:xfrm>
                <a:off x="10969632" y="2333660"/>
                <a:ext cx="82426" cy="7895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48" name="Ellipse 35">
              <a:extLst>
                <a:ext uri="{FF2B5EF4-FFF2-40B4-BE49-F238E27FC236}">
                  <a16:creationId xmlns:a16="http://schemas.microsoft.com/office/drawing/2014/main" id="{FEEAEED6-5932-4284-B998-97F2A9B21368}"/>
                </a:ext>
              </a:extLst>
            </p:cNvPr>
            <p:cNvSpPr/>
            <p:nvPr/>
          </p:nvSpPr>
          <p:spPr>
            <a:xfrm>
              <a:off x="10399523" y="2865572"/>
              <a:ext cx="82426" cy="7895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chemeClr val="accent6"/>
                </a:solidFill>
              </a:endParaRPr>
            </a:p>
          </p:txBody>
        </p:sp>
        <p:sp>
          <p:nvSpPr>
            <p:cNvPr id="49" name="Ellipse 36">
              <a:extLst>
                <a:ext uri="{FF2B5EF4-FFF2-40B4-BE49-F238E27FC236}">
                  <a16:creationId xmlns:a16="http://schemas.microsoft.com/office/drawing/2014/main" id="{FA0A9DA1-CCDD-4851-93C6-7CF38AF536F7}"/>
                </a:ext>
              </a:extLst>
            </p:cNvPr>
            <p:cNvSpPr/>
            <p:nvPr/>
          </p:nvSpPr>
          <p:spPr>
            <a:xfrm>
              <a:off x="7844942" y="3631742"/>
              <a:ext cx="82426" cy="7895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chemeClr val="accent6"/>
                </a:solidFill>
              </a:endParaRPr>
            </a:p>
          </p:txBody>
        </p:sp>
        <p:sp>
          <p:nvSpPr>
            <p:cNvPr id="50" name="Ellipse 37">
              <a:extLst>
                <a:ext uri="{FF2B5EF4-FFF2-40B4-BE49-F238E27FC236}">
                  <a16:creationId xmlns:a16="http://schemas.microsoft.com/office/drawing/2014/main" id="{F553BB35-BFF3-4AE6-996C-276E012AA8E5}"/>
                </a:ext>
              </a:extLst>
            </p:cNvPr>
            <p:cNvSpPr/>
            <p:nvPr/>
          </p:nvSpPr>
          <p:spPr>
            <a:xfrm>
              <a:off x="9017124" y="3803467"/>
              <a:ext cx="82426" cy="7895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chemeClr val="accent6"/>
                </a:solidFill>
              </a:endParaRPr>
            </a:p>
          </p:txBody>
        </p:sp>
        <p:sp>
          <p:nvSpPr>
            <p:cNvPr id="51" name="Ellipse 38">
              <a:extLst>
                <a:ext uri="{FF2B5EF4-FFF2-40B4-BE49-F238E27FC236}">
                  <a16:creationId xmlns:a16="http://schemas.microsoft.com/office/drawing/2014/main" id="{EC54CE53-0EAC-43EE-A40C-A3A03533A9D0}"/>
                </a:ext>
              </a:extLst>
            </p:cNvPr>
            <p:cNvSpPr/>
            <p:nvPr/>
          </p:nvSpPr>
          <p:spPr>
            <a:xfrm>
              <a:off x="10437960" y="3231981"/>
              <a:ext cx="73360" cy="7336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52" name="Ellipse 39">
              <a:extLst>
                <a:ext uri="{FF2B5EF4-FFF2-40B4-BE49-F238E27FC236}">
                  <a16:creationId xmlns:a16="http://schemas.microsoft.com/office/drawing/2014/main" id="{D960E691-3E9B-4076-804F-1EBC79F7BB7B}"/>
                </a:ext>
              </a:extLst>
            </p:cNvPr>
            <p:cNvSpPr/>
            <p:nvPr/>
          </p:nvSpPr>
          <p:spPr>
            <a:xfrm>
              <a:off x="10875844" y="2585152"/>
              <a:ext cx="73360" cy="7336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chemeClr val="accent6"/>
                </a:solidFill>
              </a:endParaRPr>
            </a:p>
          </p:txBody>
        </p:sp>
        <p:sp>
          <p:nvSpPr>
            <p:cNvPr id="53" name="Ellipse 41">
              <a:extLst>
                <a:ext uri="{FF2B5EF4-FFF2-40B4-BE49-F238E27FC236}">
                  <a16:creationId xmlns:a16="http://schemas.microsoft.com/office/drawing/2014/main" id="{5DB5F19B-B4F9-4D58-AE9C-7A7FECEBFF44}"/>
                </a:ext>
              </a:extLst>
            </p:cNvPr>
            <p:cNvSpPr/>
            <p:nvPr/>
          </p:nvSpPr>
          <p:spPr>
            <a:xfrm>
              <a:off x="7968208" y="3429000"/>
              <a:ext cx="82426" cy="7895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chemeClr val="accent6"/>
                </a:solidFill>
              </a:endParaRPr>
            </a:p>
          </p:txBody>
        </p:sp>
        <p:sp>
          <p:nvSpPr>
            <p:cNvPr id="54" name="Ellipse 42">
              <a:extLst>
                <a:ext uri="{FF2B5EF4-FFF2-40B4-BE49-F238E27FC236}">
                  <a16:creationId xmlns:a16="http://schemas.microsoft.com/office/drawing/2014/main" id="{2CA7B6F3-658B-4726-9855-484DBDD1ABE5}"/>
                </a:ext>
              </a:extLst>
            </p:cNvPr>
            <p:cNvSpPr/>
            <p:nvPr/>
          </p:nvSpPr>
          <p:spPr>
            <a:xfrm>
              <a:off x="7795958" y="3718823"/>
              <a:ext cx="82426" cy="7895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chemeClr val="accent6"/>
                </a:solidFill>
              </a:endParaRPr>
            </a:p>
          </p:txBody>
        </p:sp>
        <p:sp>
          <p:nvSpPr>
            <p:cNvPr id="55" name="Ellipse 43">
              <a:extLst>
                <a:ext uri="{FF2B5EF4-FFF2-40B4-BE49-F238E27FC236}">
                  <a16:creationId xmlns:a16="http://schemas.microsoft.com/office/drawing/2014/main" id="{2796F15B-407C-4BDB-AF5E-93A0F807CB20}"/>
                </a:ext>
              </a:extLst>
            </p:cNvPr>
            <p:cNvSpPr/>
            <p:nvPr/>
          </p:nvSpPr>
          <p:spPr>
            <a:xfrm>
              <a:off x="6971605" y="2805061"/>
              <a:ext cx="82426" cy="7895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chemeClr val="accent6"/>
                </a:solidFill>
              </a:endParaRPr>
            </a:p>
          </p:txBody>
        </p:sp>
        <p:sp>
          <p:nvSpPr>
            <p:cNvPr id="56" name="Ellipse 44">
              <a:extLst>
                <a:ext uri="{FF2B5EF4-FFF2-40B4-BE49-F238E27FC236}">
                  <a16:creationId xmlns:a16="http://schemas.microsoft.com/office/drawing/2014/main" id="{212FC7F0-2380-469E-99F3-E36604C5ECB0}"/>
                </a:ext>
              </a:extLst>
            </p:cNvPr>
            <p:cNvSpPr/>
            <p:nvPr/>
          </p:nvSpPr>
          <p:spPr>
            <a:xfrm>
              <a:off x="8585555" y="2481112"/>
              <a:ext cx="82426" cy="7895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chemeClr val="accent6"/>
                </a:solidFill>
              </a:endParaRPr>
            </a:p>
          </p:txBody>
        </p:sp>
        <p:sp>
          <p:nvSpPr>
            <p:cNvPr id="57" name="Ellipse 45">
              <a:extLst>
                <a:ext uri="{FF2B5EF4-FFF2-40B4-BE49-F238E27FC236}">
                  <a16:creationId xmlns:a16="http://schemas.microsoft.com/office/drawing/2014/main" id="{03E57874-A39D-4037-B61F-B3B46478A575}"/>
                </a:ext>
              </a:extLst>
            </p:cNvPr>
            <p:cNvSpPr/>
            <p:nvPr/>
          </p:nvSpPr>
          <p:spPr>
            <a:xfrm>
              <a:off x="8859560" y="2440302"/>
              <a:ext cx="82426" cy="7895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chemeClr val="accent6"/>
                </a:solidFill>
              </a:endParaRPr>
            </a:p>
          </p:txBody>
        </p:sp>
        <p:sp>
          <p:nvSpPr>
            <p:cNvPr id="58" name="Ellipse 46">
              <a:extLst>
                <a:ext uri="{FF2B5EF4-FFF2-40B4-BE49-F238E27FC236}">
                  <a16:creationId xmlns:a16="http://schemas.microsoft.com/office/drawing/2014/main" id="{42F988C4-840E-40B8-AA36-E0D56A9D68B1}"/>
                </a:ext>
              </a:extLst>
            </p:cNvPr>
            <p:cNvSpPr/>
            <p:nvPr/>
          </p:nvSpPr>
          <p:spPr>
            <a:xfrm>
              <a:off x="8710025" y="2400826"/>
              <a:ext cx="82426" cy="7895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chemeClr val="accent6"/>
                </a:solidFill>
              </a:endParaRPr>
            </a:p>
          </p:txBody>
        </p:sp>
        <p:sp>
          <p:nvSpPr>
            <p:cNvPr id="59" name="Ellipse 47">
              <a:extLst>
                <a:ext uri="{FF2B5EF4-FFF2-40B4-BE49-F238E27FC236}">
                  <a16:creationId xmlns:a16="http://schemas.microsoft.com/office/drawing/2014/main" id="{CF01FCA8-1FD4-4431-B228-F0A6A07A4FA8}"/>
                </a:ext>
              </a:extLst>
            </p:cNvPr>
            <p:cNvSpPr/>
            <p:nvPr/>
          </p:nvSpPr>
          <p:spPr>
            <a:xfrm>
              <a:off x="8710025" y="2286846"/>
              <a:ext cx="82426" cy="7895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chemeClr val="accent6"/>
                </a:solidFill>
              </a:endParaRPr>
            </a:p>
          </p:txBody>
        </p:sp>
        <p:sp>
          <p:nvSpPr>
            <p:cNvPr id="60" name="Ellipse 48">
              <a:extLst>
                <a:ext uri="{FF2B5EF4-FFF2-40B4-BE49-F238E27FC236}">
                  <a16:creationId xmlns:a16="http://schemas.microsoft.com/office/drawing/2014/main" id="{541C1C1D-131E-4C90-9E10-6A42B00AEC25}"/>
                </a:ext>
              </a:extLst>
            </p:cNvPr>
            <p:cNvSpPr/>
            <p:nvPr/>
          </p:nvSpPr>
          <p:spPr>
            <a:xfrm>
              <a:off x="8818347" y="2347692"/>
              <a:ext cx="82426" cy="7895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chemeClr val="accent6"/>
                </a:solidFill>
              </a:endParaRPr>
            </a:p>
          </p:txBody>
        </p:sp>
        <p:sp>
          <p:nvSpPr>
            <p:cNvPr id="61" name="Ellipse 49">
              <a:extLst>
                <a:ext uri="{FF2B5EF4-FFF2-40B4-BE49-F238E27FC236}">
                  <a16:creationId xmlns:a16="http://schemas.microsoft.com/office/drawing/2014/main" id="{6C2E65D0-0D27-4BDD-A2E1-C9E960E2FC79}"/>
                </a:ext>
              </a:extLst>
            </p:cNvPr>
            <p:cNvSpPr/>
            <p:nvPr/>
          </p:nvSpPr>
          <p:spPr>
            <a:xfrm>
              <a:off x="8792451" y="2204526"/>
              <a:ext cx="82426" cy="7895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chemeClr val="accent6"/>
                </a:solidFill>
              </a:endParaRPr>
            </a:p>
          </p:txBody>
        </p:sp>
        <p:sp>
          <p:nvSpPr>
            <p:cNvPr id="62" name="Ellipse 50">
              <a:extLst>
                <a:ext uri="{FF2B5EF4-FFF2-40B4-BE49-F238E27FC236}">
                  <a16:creationId xmlns:a16="http://schemas.microsoft.com/office/drawing/2014/main" id="{1397C4EA-3F84-400C-8E4A-68327A673F9D}"/>
                </a:ext>
              </a:extLst>
            </p:cNvPr>
            <p:cNvSpPr/>
            <p:nvPr/>
          </p:nvSpPr>
          <p:spPr>
            <a:xfrm>
              <a:off x="8944851" y="2356926"/>
              <a:ext cx="82426" cy="7895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chemeClr val="accent6"/>
                </a:solidFill>
              </a:endParaRPr>
            </a:p>
          </p:txBody>
        </p:sp>
        <p:sp>
          <p:nvSpPr>
            <p:cNvPr id="63" name="Ellipse 51">
              <a:extLst>
                <a:ext uri="{FF2B5EF4-FFF2-40B4-BE49-F238E27FC236}">
                  <a16:creationId xmlns:a16="http://schemas.microsoft.com/office/drawing/2014/main" id="{0C8793D3-A4FC-44A4-BB14-847610025098}"/>
                </a:ext>
              </a:extLst>
            </p:cNvPr>
            <p:cNvSpPr/>
            <p:nvPr/>
          </p:nvSpPr>
          <p:spPr>
            <a:xfrm>
              <a:off x="8895124" y="2102830"/>
              <a:ext cx="82426" cy="7895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chemeClr val="accent6"/>
                </a:solidFill>
              </a:endParaRPr>
            </a:p>
          </p:txBody>
        </p:sp>
        <p:sp>
          <p:nvSpPr>
            <p:cNvPr id="64" name="Ellipse 52">
              <a:extLst>
                <a:ext uri="{FF2B5EF4-FFF2-40B4-BE49-F238E27FC236}">
                  <a16:creationId xmlns:a16="http://schemas.microsoft.com/office/drawing/2014/main" id="{6C905F18-F519-4C6D-B283-5693163F526A}"/>
                </a:ext>
              </a:extLst>
            </p:cNvPr>
            <p:cNvSpPr/>
            <p:nvPr/>
          </p:nvSpPr>
          <p:spPr>
            <a:xfrm>
              <a:off x="8751238" y="2100836"/>
              <a:ext cx="82426" cy="7895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chemeClr val="accent6"/>
                </a:solidFill>
              </a:endParaRPr>
            </a:p>
          </p:txBody>
        </p:sp>
        <p:sp>
          <p:nvSpPr>
            <p:cNvPr id="65" name="Ellipse 53">
              <a:extLst>
                <a:ext uri="{FF2B5EF4-FFF2-40B4-BE49-F238E27FC236}">
                  <a16:creationId xmlns:a16="http://schemas.microsoft.com/office/drawing/2014/main" id="{4E291788-75EE-4CB1-8E4A-A12DB8DEF3B7}"/>
                </a:ext>
              </a:extLst>
            </p:cNvPr>
            <p:cNvSpPr/>
            <p:nvPr/>
          </p:nvSpPr>
          <p:spPr>
            <a:xfrm>
              <a:off x="8895124" y="2294558"/>
              <a:ext cx="82426" cy="7895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chemeClr val="accent6"/>
                </a:solidFill>
              </a:endParaRPr>
            </a:p>
          </p:txBody>
        </p:sp>
        <p:sp>
          <p:nvSpPr>
            <p:cNvPr id="66" name="Ellipse 54">
              <a:extLst>
                <a:ext uri="{FF2B5EF4-FFF2-40B4-BE49-F238E27FC236}">
                  <a16:creationId xmlns:a16="http://schemas.microsoft.com/office/drawing/2014/main" id="{E438BE4C-6C29-4F3B-83E3-BB206A569EA3}"/>
                </a:ext>
              </a:extLst>
            </p:cNvPr>
            <p:cNvSpPr/>
            <p:nvPr/>
          </p:nvSpPr>
          <p:spPr>
            <a:xfrm>
              <a:off x="9270428" y="2201342"/>
              <a:ext cx="82426" cy="7895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chemeClr val="accent6"/>
                </a:solidFill>
              </a:endParaRPr>
            </a:p>
          </p:txBody>
        </p:sp>
        <p:sp>
          <p:nvSpPr>
            <p:cNvPr id="67" name="Ellipse 55">
              <a:extLst>
                <a:ext uri="{FF2B5EF4-FFF2-40B4-BE49-F238E27FC236}">
                  <a16:creationId xmlns:a16="http://schemas.microsoft.com/office/drawing/2014/main" id="{EF254030-8D1D-446F-8810-C350269E18CA}"/>
                </a:ext>
              </a:extLst>
            </p:cNvPr>
            <p:cNvSpPr/>
            <p:nvPr/>
          </p:nvSpPr>
          <p:spPr>
            <a:xfrm>
              <a:off x="9032426" y="2475588"/>
              <a:ext cx="82426" cy="7895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chemeClr val="accent6"/>
                </a:solidFill>
              </a:endParaRPr>
            </a:p>
          </p:txBody>
        </p:sp>
        <p:sp>
          <p:nvSpPr>
            <p:cNvPr id="68" name="Ellipse 56">
              <a:extLst>
                <a:ext uri="{FF2B5EF4-FFF2-40B4-BE49-F238E27FC236}">
                  <a16:creationId xmlns:a16="http://schemas.microsoft.com/office/drawing/2014/main" id="{A998812F-C1F6-48BA-8888-B6BF3714396B}"/>
                </a:ext>
              </a:extLst>
            </p:cNvPr>
            <p:cNvSpPr/>
            <p:nvPr/>
          </p:nvSpPr>
          <p:spPr>
            <a:xfrm>
              <a:off x="9184826" y="2627988"/>
              <a:ext cx="82426" cy="7895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chemeClr val="accent6"/>
                </a:solidFill>
              </a:endParaRPr>
            </a:p>
          </p:txBody>
        </p:sp>
        <p:sp>
          <p:nvSpPr>
            <p:cNvPr id="70" name="Ellipse 57">
              <a:extLst>
                <a:ext uri="{FF2B5EF4-FFF2-40B4-BE49-F238E27FC236}">
                  <a16:creationId xmlns:a16="http://schemas.microsoft.com/office/drawing/2014/main" id="{975A81F7-B715-4A39-BC9B-DACB79D8C4D9}"/>
                </a:ext>
              </a:extLst>
            </p:cNvPr>
            <p:cNvSpPr/>
            <p:nvPr/>
          </p:nvSpPr>
          <p:spPr>
            <a:xfrm>
              <a:off x="8778962" y="2562885"/>
              <a:ext cx="82426" cy="7895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chemeClr val="accent6"/>
                </a:solidFill>
              </a:endParaRPr>
            </a:p>
          </p:txBody>
        </p:sp>
        <p:pic>
          <p:nvPicPr>
            <p:cNvPr id="74" name="Billede 59">
              <a:extLst>
                <a:ext uri="{FF2B5EF4-FFF2-40B4-BE49-F238E27FC236}">
                  <a16:creationId xmlns:a16="http://schemas.microsoft.com/office/drawing/2014/main" id="{CDBB6ADB-176F-41E7-AE53-51E4161ECFA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02153" y="2041294"/>
              <a:ext cx="263022" cy="243358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75" name="Billede 60">
              <a:extLst>
                <a:ext uri="{FF2B5EF4-FFF2-40B4-BE49-F238E27FC236}">
                  <a16:creationId xmlns:a16="http://schemas.microsoft.com/office/drawing/2014/main" id="{0C77C5A5-074F-48BA-8911-17B2F9F6893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45539" y="2316706"/>
              <a:ext cx="263022" cy="243358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76" name="Billede 61">
              <a:extLst>
                <a:ext uri="{FF2B5EF4-FFF2-40B4-BE49-F238E27FC236}">
                  <a16:creationId xmlns:a16="http://schemas.microsoft.com/office/drawing/2014/main" id="{1C210C99-D916-4262-A969-60E099CC1CE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73957" y="2144595"/>
              <a:ext cx="263022" cy="243358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77" name="Billede 62">
              <a:extLst>
                <a:ext uri="{FF2B5EF4-FFF2-40B4-BE49-F238E27FC236}">
                  <a16:creationId xmlns:a16="http://schemas.microsoft.com/office/drawing/2014/main" id="{69C77815-6551-437F-A1ED-45843F711EC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79254" y="2272445"/>
              <a:ext cx="263022" cy="243358"/>
            </a:xfrm>
            <a:prstGeom prst="rect">
              <a:avLst/>
            </a:prstGeom>
            <a:ln>
              <a:noFill/>
            </a:ln>
          </p:spPr>
        </p:pic>
        <p:pic>
          <p:nvPicPr>
            <p:cNvPr id="78" name="Billede 63">
              <a:extLst>
                <a:ext uri="{FF2B5EF4-FFF2-40B4-BE49-F238E27FC236}">
                  <a16:creationId xmlns:a16="http://schemas.microsoft.com/office/drawing/2014/main" id="{3FC01A7F-99A5-4E7C-B8C6-92B26FCB87F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87473" y="2378746"/>
              <a:ext cx="263022" cy="243358"/>
            </a:xfrm>
            <a:prstGeom prst="rect">
              <a:avLst/>
            </a:prstGeom>
            <a:ln>
              <a:noFill/>
            </a:ln>
          </p:spPr>
        </p:pic>
        <p:pic>
          <p:nvPicPr>
            <p:cNvPr id="79" name="Billede 64">
              <a:extLst>
                <a:ext uri="{FF2B5EF4-FFF2-40B4-BE49-F238E27FC236}">
                  <a16:creationId xmlns:a16="http://schemas.microsoft.com/office/drawing/2014/main" id="{6C885348-C615-445A-A111-DAAB6F3B6E0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350438" y="2995229"/>
              <a:ext cx="263022" cy="243358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80" name="Billede 65">
              <a:extLst>
                <a:ext uri="{FF2B5EF4-FFF2-40B4-BE49-F238E27FC236}">
                  <a16:creationId xmlns:a16="http://schemas.microsoft.com/office/drawing/2014/main" id="{9417626E-AB0A-423A-B11B-3C41218909B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502924" y="2542424"/>
              <a:ext cx="263022" cy="243358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81" name="Ellipse 67">
              <a:extLst>
                <a:ext uri="{FF2B5EF4-FFF2-40B4-BE49-F238E27FC236}">
                  <a16:creationId xmlns:a16="http://schemas.microsoft.com/office/drawing/2014/main" id="{D89FBA0D-2B10-4820-8C2A-F184CC965B98}"/>
                </a:ext>
              </a:extLst>
            </p:cNvPr>
            <p:cNvSpPr/>
            <p:nvPr/>
          </p:nvSpPr>
          <p:spPr>
            <a:xfrm>
              <a:off x="8985422" y="2230225"/>
              <a:ext cx="82426" cy="7895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chemeClr val="accent6"/>
                </a:solidFill>
              </a:endParaRPr>
            </a:p>
          </p:txBody>
        </p:sp>
        <p:sp>
          <p:nvSpPr>
            <p:cNvPr id="82" name="Ellipse 67">
              <a:extLst>
                <a:ext uri="{FF2B5EF4-FFF2-40B4-BE49-F238E27FC236}">
                  <a16:creationId xmlns:a16="http://schemas.microsoft.com/office/drawing/2014/main" id="{83E4BB86-EB41-4099-8198-925FA22DDE55}"/>
                </a:ext>
              </a:extLst>
            </p:cNvPr>
            <p:cNvSpPr/>
            <p:nvPr/>
          </p:nvSpPr>
          <p:spPr>
            <a:xfrm>
              <a:off x="8980415" y="2330777"/>
              <a:ext cx="82426" cy="7895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chemeClr val="accent6"/>
                </a:solidFill>
              </a:endParaRPr>
            </a:p>
          </p:txBody>
        </p:sp>
        <p:sp>
          <p:nvSpPr>
            <p:cNvPr id="83" name="Ellipse 67">
              <a:extLst>
                <a:ext uri="{FF2B5EF4-FFF2-40B4-BE49-F238E27FC236}">
                  <a16:creationId xmlns:a16="http://schemas.microsoft.com/office/drawing/2014/main" id="{94756B01-DF6B-4E73-A133-A97D8B0816C5}"/>
                </a:ext>
              </a:extLst>
            </p:cNvPr>
            <p:cNvSpPr/>
            <p:nvPr/>
          </p:nvSpPr>
          <p:spPr>
            <a:xfrm>
              <a:off x="10549023" y="2772077"/>
              <a:ext cx="82426" cy="7895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chemeClr val="accent6"/>
                </a:solidFill>
              </a:endParaRPr>
            </a:p>
          </p:txBody>
        </p:sp>
        <p:sp>
          <p:nvSpPr>
            <p:cNvPr id="84" name="Ellipse 67">
              <a:extLst>
                <a:ext uri="{FF2B5EF4-FFF2-40B4-BE49-F238E27FC236}">
                  <a16:creationId xmlns:a16="http://schemas.microsoft.com/office/drawing/2014/main" id="{288BF546-AFDD-48EE-8084-DB164A774679}"/>
                </a:ext>
              </a:extLst>
            </p:cNvPr>
            <p:cNvSpPr/>
            <p:nvPr/>
          </p:nvSpPr>
          <p:spPr>
            <a:xfrm>
              <a:off x="10499182" y="2740522"/>
              <a:ext cx="82426" cy="7895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chemeClr val="accent6"/>
                </a:solidFill>
              </a:endParaRPr>
            </a:p>
          </p:txBody>
        </p:sp>
        <p:sp>
          <p:nvSpPr>
            <p:cNvPr id="85" name="Ellipse 67">
              <a:extLst>
                <a:ext uri="{FF2B5EF4-FFF2-40B4-BE49-F238E27FC236}">
                  <a16:creationId xmlns:a16="http://schemas.microsoft.com/office/drawing/2014/main" id="{3C4EC663-034E-4E9D-8FB0-B15A2A7C7AF7}"/>
                </a:ext>
              </a:extLst>
            </p:cNvPr>
            <p:cNvSpPr/>
            <p:nvPr/>
          </p:nvSpPr>
          <p:spPr>
            <a:xfrm>
              <a:off x="10737102" y="2944145"/>
              <a:ext cx="82426" cy="7895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chemeClr val="accent6"/>
                </a:solidFill>
              </a:endParaRPr>
            </a:p>
          </p:txBody>
        </p:sp>
        <p:sp>
          <p:nvSpPr>
            <p:cNvPr id="86" name="Ellipse 67">
              <a:extLst>
                <a:ext uri="{FF2B5EF4-FFF2-40B4-BE49-F238E27FC236}">
                  <a16:creationId xmlns:a16="http://schemas.microsoft.com/office/drawing/2014/main" id="{04E5A0BD-57D2-47DE-876B-226CD9688706}"/>
                </a:ext>
              </a:extLst>
            </p:cNvPr>
            <p:cNvSpPr/>
            <p:nvPr/>
          </p:nvSpPr>
          <p:spPr>
            <a:xfrm>
              <a:off x="10354869" y="2936595"/>
              <a:ext cx="82426" cy="7895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chemeClr val="accent6"/>
                </a:solidFill>
              </a:endParaRPr>
            </a:p>
          </p:txBody>
        </p:sp>
        <p:sp>
          <p:nvSpPr>
            <p:cNvPr id="87" name="Ellipse 67">
              <a:extLst>
                <a:ext uri="{FF2B5EF4-FFF2-40B4-BE49-F238E27FC236}">
                  <a16:creationId xmlns:a16="http://schemas.microsoft.com/office/drawing/2014/main" id="{E0B7E829-8F39-4F72-91C9-F3E9460A114D}"/>
                </a:ext>
              </a:extLst>
            </p:cNvPr>
            <p:cNvSpPr/>
            <p:nvPr/>
          </p:nvSpPr>
          <p:spPr>
            <a:xfrm>
              <a:off x="7049703" y="2786620"/>
              <a:ext cx="82426" cy="7895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chemeClr val="accent6"/>
                </a:solidFill>
              </a:endParaRPr>
            </a:p>
          </p:txBody>
        </p:sp>
        <p:sp>
          <p:nvSpPr>
            <p:cNvPr id="88" name="Ellipse 67">
              <a:extLst>
                <a:ext uri="{FF2B5EF4-FFF2-40B4-BE49-F238E27FC236}">
                  <a16:creationId xmlns:a16="http://schemas.microsoft.com/office/drawing/2014/main" id="{4E83CCFD-CB49-4011-9177-8D2775790C5C}"/>
                </a:ext>
              </a:extLst>
            </p:cNvPr>
            <p:cNvSpPr/>
            <p:nvPr/>
          </p:nvSpPr>
          <p:spPr>
            <a:xfrm>
              <a:off x="6912551" y="2789953"/>
              <a:ext cx="82426" cy="7895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chemeClr val="accent6"/>
                </a:solidFill>
              </a:endParaRPr>
            </a:p>
          </p:txBody>
        </p:sp>
        <p:sp>
          <p:nvSpPr>
            <p:cNvPr id="89" name="Ellipse 67">
              <a:extLst>
                <a:ext uri="{FF2B5EF4-FFF2-40B4-BE49-F238E27FC236}">
                  <a16:creationId xmlns:a16="http://schemas.microsoft.com/office/drawing/2014/main" id="{A9BC1B1F-553D-46AA-87D7-DDDE5FFCED9A}"/>
                </a:ext>
              </a:extLst>
            </p:cNvPr>
            <p:cNvSpPr/>
            <p:nvPr/>
          </p:nvSpPr>
          <p:spPr>
            <a:xfrm>
              <a:off x="7064095" y="2624648"/>
              <a:ext cx="82426" cy="7895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chemeClr val="accent6"/>
                </a:solidFill>
              </a:endParaRPr>
            </a:p>
          </p:txBody>
        </p:sp>
        <p:sp>
          <p:nvSpPr>
            <p:cNvPr id="91" name="Ellipse 67">
              <a:extLst>
                <a:ext uri="{FF2B5EF4-FFF2-40B4-BE49-F238E27FC236}">
                  <a16:creationId xmlns:a16="http://schemas.microsoft.com/office/drawing/2014/main" id="{BDA157C6-810E-40A7-BC75-03FD2525DF0C}"/>
                </a:ext>
              </a:extLst>
            </p:cNvPr>
            <p:cNvSpPr/>
            <p:nvPr/>
          </p:nvSpPr>
          <p:spPr>
            <a:xfrm>
              <a:off x="6984811" y="2482813"/>
              <a:ext cx="82426" cy="7895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chemeClr val="accent6"/>
                </a:solidFill>
              </a:endParaRPr>
            </a:p>
          </p:txBody>
        </p:sp>
        <p:sp>
          <p:nvSpPr>
            <p:cNvPr id="92" name="Ellipse 67">
              <a:extLst>
                <a:ext uri="{FF2B5EF4-FFF2-40B4-BE49-F238E27FC236}">
                  <a16:creationId xmlns:a16="http://schemas.microsoft.com/office/drawing/2014/main" id="{6FDBD737-6D2F-4334-ADE5-9AD8604DA42A}"/>
                </a:ext>
              </a:extLst>
            </p:cNvPr>
            <p:cNvSpPr/>
            <p:nvPr/>
          </p:nvSpPr>
          <p:spPr>
            <a:xfrm>
              <a:off x="9035375" y="2091942"/>
              <a:ext cx="82426" cy="7895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chemeClr val="accent6"/>
                </a:solidFill>
              </a:endParaRPr>
            </a:p>
          </p:txBody>
        </p:sp>
        <p:sp>
          <p:nvSpPr>
            <p:cNvPr id="101" name="Ellipse 42">
              <a:extLst>
                <a:ext uri="{FF2B5EF4-FFF2-40B4-BE49-F238E27FC236}">
                  <a16:creationId xmlns:a16="http://schemas.microsoft.com/office/drawing/2014/main" id="{77A5BE5B-B814-4B15-A9AE-1F856F50CA5B}"/>
                </a:ext>
              </a:extLst>
            </p:cNvPr>
            <p:cNvSpPr/>
            <p:nvPr/>
          </p:nvSpPr>
          <p:spPr>
            <a:xfrm>
              <a:off x="7546241" y="3920830"/>
              <a:ext cx="82426" cy="7895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chemeClr val="accent6"/>
                </a:solidFill>
              </a:endParaRPr>
            </a:p>
          </p:txBody>
        </p:sp>
        <p:pic>
          <p:nvPicPr>
            <p:cNvPr id="102" name="Billede 65">
              <a:extLst>
                <a:ext uri="{FF2B5EF4-FFF2-40B4-BE49-F238E27FC236}">
                  <a16:creationId xmlns:a16="http://schemas.microsoft.com/office/drawing/2014/main" id="{4A8149A0-F681-4FAB-8B1A-1E0CF40B1A7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91779" y="2356926"/>
              <a:ext cx="263022" cy="243358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03" name="Ellipse 54">
              <a:extLst>
                <a:ext uri="{FF2B5EF4-FFF2-40B4-BE49-F238E27FC236}">
                  <a16:creationId xmlns:a16="http://schemas.microsoft.com/office/drawing/2014/main" id="{48DF2F5F-49E2-4728-BA2E-B125CE642245}"/>
                </a:ext>
              </a:extLst>
            </p:cNvPr>
            <p:cNvSpPr/>
            <p:nvPr/>
          </p:nvSpPr>
          <p:spPr>
            <a:xfrm>
              <a:off x="8471412" y="2069034"/>
              <a:ext cx="82426" cy="7895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chemeClr val="accent6"/>
                </a:solidFill>
              </a:endParaRPr>
            </a:p>
          </p:txBody>
        </p:sp>
        <p:sp>
          <p:nvSpPr>
            <p:cNvPr id="104" name="Ellipse 54">
              <a:extLst>
                <a:ext uri="{FF2B5EF4-FFF2-40B4-BE49-F238E27FC236}">
                  <a16:creationId xmlns:a16="http://schemas.microsoft.com/office/drawing/2014/main" id="{C42479DE-68B1-472F-90D3-A6CDBED2F2FD}"/>
                </a:ext>
              </a:extLst>
            </p:cNvPr>
            <p:cNvSpPr/>
            <p:nvPr/>
          </p:nvSpPr>
          <p:spPr>
            <a:xfrm>
              <a:off x="8602342" y="2217752"/>
              <a:ext cx="82426" cy="7895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chemeClr val="accent6"/>
                </a:solidFill>
              </a:endParaRPr>
            </a:p>
          </p:txBody>
        </p:sp>
        <p:sp>
          <p:nvSpPr>
            <p:cNvPr id="105" name="Ellipse 54">
              <a:extLst>
                <a:ext uri="{FF2B5EF4-FFF2-40B4-BE49-F238E27FC236}">
                  <a16:creationId xmlns:a16="http://schemas.microsoft.com/office/drawing/2014/main" id="{DD6452B1-25EE-44D3-8B8B-A83289ED1C65}"/>
                </a:ext>
              </a:extLst>
            </p:cNvPr>
            <p:cNvSpPr/>
            <p:nvPr/>
          </p:nvSpPr>
          <p:spPr>
            <a:xfrm>
              <a:off x="9140976" y="2354648"/>
              <a:ext cx="82426" cy="7895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chemeClr val="accent6"/>
                </a:solidFill>
              </a:endParaRPr>
            </a:p>
          </p:txBody>
        </p:sp>
        <p:sp>
          <p:nvSpPr>
            <p:cNvPr id="114" name="Ellipse 54">
              <a:extLst>
                <a:ext uri="{FF2B5EF4-FFF2-40B4-BE49-F238E27FC236}">
                  <a16:creationId xmlns:a16="http://schemas.microsoft.com/office/drawing/2014/main" id="{A52C2607-530E-46DC-A31B-F3E56C54BD5C}"/>
                </a:ext>
              </a:extLst>
            </p:cNvPr>
            <p:cNvSpPr/>
            <p:nvPr/>
          </p:nvSpPr>
          <p:spPr>
            <a:xfrm>
              <a:off x="9077457" y="2257848"/>
              <a:ext cx="82426" cy="7895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chemeClr val="accent6"/>
                </a:solidFill>
              </a:endParaRPr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34E74EF-5928-482B-8099-8424C960D2C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471EAA7-3162-4B69-9563-88D5A3B75B98}" type="slidenum">
              <a:rPr lang="en-GB" smtClean="0"/>
              <a:pPr/>
              <a:t>6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F65B3CB-ABB0-4B65-BD62-0CDC773B37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>
                <a:solidFill>
                  <a:srgbClr val="11367C"/>
                </a:solidFill>
                <a:latin typeface="Oscine" panose="020B0506040202020204" pitchFamily="34" charset="0"/>
                <a:cs typeface="Oscine" panose="020B0506040202020204" pitchFamily="34" charset="0"/>
              </a:rPr>
              <a:t>The Company Today</a:t>
            </a:r>
            <a:endParaRPr lang="en-US">
              <a:latin typeface="Oscine" panose="020B0506040202020204" pitchFamily="34" charset="0"/>
              <a:cs typeface="Oscine" panose="020B0506040202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DE9C239-72A6-4678-AB27-024D5B6D7FD7}"/>
              </a:ext>
            </a:extLst>
          </p:cNvPr>
          <p:cNvGrpSpPr/>
          <p:nvPr/>
        </p:nvGrpSpPr>
        <p:grpSpPr>
          <a:xfrm>
            <a:off x="8107858" y="5591373"/>
            <a:ext cx="3208393" cy="369332"/>
            <a:chOff x="8094505" y="5231415"/>
            <a:chExt cx="3208393" cy="369332"/>
          </a:xfrm>
        </p:grpSpPr>
        <p:pic>
          <p:nvPicPr>
            <p:cNvPr id="69" name="Billede 66">
              <a:extLst>
                <a:ext uri="{FF2B5EF4-FFF2-40B4-BE49-F238E27FC236}">
                  <a16:creationId xmlns:a16="http://schemas.microsoft.com/office/drawing/2014/main" id="{B4776E62-05F0-41E1-92A8-F2D3876E1F3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94505" y="5294402"/>
              <a:ext cx="263022" cy="243358"/>
            </a:xfrm>
            <a:prstGeom prst="rect">
              <a:avLst/>
            </a:prstGeom>
            <a:ln>
              <a:solidFill>
                <a:srgbClr val="FFFFFF"/>
              </a:solidFill>
            </a:ln>
          </p:spPr>
        </p:pic>
        <p:sp>
          <p:nvSpPr>
            <p:cNvPr id="71" name="Tekstfelt 68">
              <a:extLst>
                <a:ext uri="{FF2B5EF4-FFF2-40B4-BE49-F238E27FC236}">
                  <a16:creationId xmlns:a16="http://schemas.microsoft.com/office/drawing/2014/main" id="{7F6DF892-38A5-4683-BFB0-73BE42E9292B}"/>
                </a:ext>
              </a:extLst>
            </p:cNvPr>
            <p:cNvSpPr txBox="1"/>
            <p:nvPr/>
          </p:nvSpPr>
          <p:spPr>
            <a:xfrm>
              <a:off x="8366249" y="5231415"/>
              <a:ext cx="129617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a-DK" sz="1800" err="1">
                  <a:solidFill>
                    <a:schemeClr val="accent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iR</a:t>
              </a:r>
              <a:r>
                <a:rPr lang="da-DK" sz="1800">
                  <a:solidFill>
                    <a:schemeClr val="accent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Office</a:t>
              </a:r>
              <a:endParaRPr lang="en-US" sz="1800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72" name="Tekstfelt 69">
              <a:extLst>
                <a:ext uri="{FF2B5EF4-FFF2-40B4-BE49-F238E27FC236}">
                  <a16:creationId xmlns:a16="http://schemas.microsoft.com/office/drawing/2014/main" id="{EBD5A686-B81B-4630-8724-E5081B644A55}"/>
                </a:ext>
              </a:extLst>
            </p:cNvPr>
            <p:cNvSpPr txBox="1"/>
            <p:nvPr/>
          </p:nvSpPr>
          <p:spPr>
            <a:xfrm>
              <a:off x="9939978" y="5231415"/>
              <a:ext cx="136292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a-DK" sz="1800" err="1">
                  <a:solidFill>
                    <a:schemeClr val="accent2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Distributor</a:t>
              </a:r>
              <a:endParaRPr lang="en-US" sz="1800" err="1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73" name="Ellipse 67">
              <a:extLst>
                <a:ext uri="{FF2B5EF4-FFF2-40B4-BE49-F238E27FC236}">
                  <a16:creationId xmlns:a16="http://schemas.microsoft.com/office/drawing/2014/main" id="{BD49AB61-F584-47BA-B767-13B19A4268E9}"/>
                </a:ext>
              </a:extLst>
            </p:cNvPr>
            <p:cNvSpPr/>
            <p:nvPr/>
          </p:nvSpPr>
          <p:spPr>
            <a:xfrm>
              <a:off x="9831978" y="5362081"/>
              <a:ext cx="108000" cy="108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000">
                <a:solidFill>
                  <a:schemeClr val="accent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116" name="Text Placeholder 1">
            <a:extLst>
              <a:ext uri="{FF2B5EF4-FFF2-40B4-BE49-F238E27FC236}">
                <a16:creationId xmlns:a16="http://schemas.microsoft.com/office/drawing/2014/main" id="{A5965736-3734-4865-8436-F09BAA164004}"/>
              </a:ext>
            </a:extLst>
          </p:cNvPr>
          <p:cNvSpPr txBox="1">
            <a:spLocks/>
          </p:cNvSpPr>
          <p:nvPr/>
        </p:nvSpPr>
        <p:spPr>
          <a:xfrm>
            <a:off x="1549256" y="1840412"/>
            <a:ext cx="2090057" cy="3077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16000" indent="-216000" algn="l" defTabSz="914378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75000"/>
              <a:buFontTx/>
              <a:buBlip>
                <a:blip r:embed="rId9"/>
              </a:buBlip>
              <a:defRPr lang="nn-NO" sz="2000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438" indent="-215900" algn="l" defTabSz="914378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75000"/>
              <a:buFontTx/>
              <a:buBlip>
                <a:blip r:embed="rId10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9613" indent="-225425" algn="l" defTabSz="914378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75000"/>
              <a:buFontTx/>
              <a:buBlip>
                <a:blip r:embed="rId10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2350" indent="-236538" algn="l" defTabSz="914378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75000"/>
              <a:buFontTx/>
              <a:buBlip>
                <a:blip r:embed="rId10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l" defTabSz="914378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" panose="020B0604020202020204" pitchFamily="34" charset="0"/>
              <a:buNone/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Tx/>
              <a:buNone/>
              <a:tabLst/>
              <a:defRPr/>
            </a:pPr>
            <a:r>
              <a:rPr kumimoji="0" lang="en-US" altLang="en-US" b="1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iR</a:t>
            </a:r>
            <a:r>
              <a:rPr kumimoji="0" lang="en-US" altLang="en-US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Highlights:</a:t>
            </a:r>
          </a:p>
        </p:txBody>
      </p:sp>
      <p:sp>
        <p:nvSpPr>
          <p:cNvPr id="117" name="Right Triangle 116">
            <a:extLst>
              <a:ext uri="{FF2B5EF4-FFF2-40B4-BE49-F238E27FC236}">
                <a16:creationId xmlns:a16="http://schemas.microsoft.com/office/drawing/2014/main" id="{9356B428-18A3-4CFB-BEB7-BE32C1384B39}"/>
              </a:ext>
            </a:extLst>
          </p:cNvPr>
          <p:cNvSpPr/>
          <p:nvPr/>
        </p:nvSpPr>
        <p:spPr>
          <a:xfrm rot="16200000">
            <a:off x="4261956" y="1584537"/>
            <a:ext cx="866274" cy="1027778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971BF42-637A-485E-99C4-587C96D0883A}"/>
              </a:ext>
            </a:extLst>
          </p:cNvPr>
          <p:cNvCxnSpPr/>
          <p:nvPr/>
        </p:nvCxnSpPr>
        <p:spPr>
          <a:xfrm>
            <a:off x="1365522" y="1801079"/>
            <a:ext cx="0" cy="38644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TextBox 106">
            <a:extLst>
              <a:ext uri="{FF2B5EF4-FFF2-40B4-BE49-F238E27FC236}">
                <a16:creationId xmlns:a16="http://schemas.microsoft.com/office/drawing/2014/main" id="{DC68AD6B-B5FF-4D1D-9392-E964D334BA11}"/>
              </a:ext>
            </a:extLst>
          </p:cNvPr>
          <p:cNvSpPr txBox="1"/>
          <p:nvPr/>
        </p:nvSpPr>
        <p:spPr>
          <a:xfrm>
            <a:off x="695325" y="2650586"/>
            <a:ext cx="1554009" cy="861774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r>
              <a:rPr lang="en-US" sz="1400" b="1" dirty="0">
                <a:solidFill>
                  <a:schemeClr val="accent2"/>
                </a:solidFill>
                <a:latin typeface="Open Sans"/>
                <a:ea typeface="Open Sans"/>
                <a:cs typeface="Open Sans"/>
              </a:rPr>
              <a:t>450 employees focused on rapid development and growth: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AF2C76C9-AA7C-4124-BBD5-413DEDB3B860}"/>
              </a:ext>
            </a:extLst>
          </p:cNvPr>
          <p:cNvSpPr txBox="1"/>
          <p:nvPr/>
        </p:nvSpPr>
        <p:spPr>
          <a:xfrm>
            <a:off x="2725380" y="2650586"/>
            <a:ext cx="1702945" cy="12464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>
            <a:defPPr>
              <a:defRPr lang="da-DK"/>
            </a:defPPr>
            <a:lvl1pPr marL="228600" indent="-228600">
              <a:spcAft>
                <a:spcPts val="600"/>
              </a:spcAft>
              <a:buClr>
                <a:schemeClr val="accent1"/>
              </a:buClr>
              <a:buFont typeface="Calibri" panose="020F0502020204030204" pitchFamily="34" charset="0"/>
              <a:buChar char="›"/>
              <a:defRPr sz="1100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45% in R&amp;D</a:t>
            </a:r>
          </a:p>
          <a:p>
            <a:r>
              <a:rPr lang="en-US" dirty="0"/>
              <a:t>35% in Sales &amp; Technical Support</a:t>
            </a:r>
          </a:p>
          <a:p>
            <a:r>
              <a:rPr lang="en-US" dirty="0"/>
              <a:t>10% in Production</a:t>
            </a:r>
          </a:p>
          <a:p>
            <a:r>
              <a:rPr lang="en-US" dirty="0"/>
              <a:t>10% in supporting functions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A791029-D614-42F4-9816-B99CC55F0429}"/>
              </a:ext>
            </a:extLst>
          </p:cNvPr>
          <p:cNvCxnSpPr/>
          <p:nvPr/>
        </p:nvCxnSpPr>
        <p:spPr>
          <a:xfrm>
            <a:off x="695325" y="4166886"/>
            <a:ext cx="3735705" cy="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TextBox 108">
            <a:extLst>
              <a:ext uri="{FF2B5EF4-FFF2-40B4-BE49-F238E27FC236}">
                <a16:creationId xmlns:a16="http://schemas.microsoft.com/office/drawing/2014/main" id="{F4CB1A69-E2CE-4F6D-A32C-8CA5AF4E3F7E}"/>
              </a:ext>
            </a:extLst>
          </p:cNvPr>
          <p:cNvSpPr txBox="1"/>
          <p:nvPr/>
        </p:nvSpPr>
        <p:spPr>
          <a:xfrm>
            <a:off x="695325" y="4314496"/>
            <a:ext cx="3733000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1400" b="1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orn global: </a:t>
            </a:r>
            <a:r>
              <a:rPr lang="en-US" sz="1400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20 distributors in 60 countries</a:t>
            </a:r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0C580B33-E3C0-4C3B-9966-E4128337EA79}"/>
              </a:ext>
            </a:extLst>
          </p:cNvPr>
          <p:cNvCxnSpPr/>
          <p:nvPr/>
        </p:nvCxnSpPr>
        <p:spPr>
          <a:xfrm>
            <a:off x="695325" y="4677550"/>
            <a:ext cx="3735705" cy="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TextBox 110">
            <a:extLst>
              <a:ext uri="{FF2B5EF4-FFF2-40B4-BE49-F238E27FC236}">
                <a16:creationId xmlns:a16="http://schemas.microsoft.com/office/drawing/2014/main" id="{AA423C6B-1860-401B-89A2-83FD6129AF58}"/>
              </a:ext>
            </a:extLst>
          </p:cNvPr>
          <p:cNvSpPr txBox="1"/>
          <p:nvPr/>
        </p:nvSpPr>
        <p:spPr>
          <a:xfrm>
            <a:off x="695325" y="4825160"/>
            <a:ext cx="3733000" cy="86177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1400" b="1" dirty="0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cal presence: </a:t>
            </a:r>
            <a:r>
              <a:rPr lang="en-US" sz="1400" dirty="0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ffices in New York, San Diego, North Reading, Georgetown, Barcelona, Shanghai, Tokyo, Frankfurt, Seoul, and Singapore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25BAA125-DB75-4835-B954-93A01EDEF9DC}"/>
              </a:ext>
            </a:extLst>
          </p:cNvPr>
          <p:cNvSpPr txBox="1"/>
          <p:nvPr/>
        </p:nvSpPr>
        <p:spPr>
          <a:xfrm>
            <a:off x="695325" y="5766713"/>
            <a:ext cx="3733000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1400" b="1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ward-winning technology: </a:t>
            </a:r>
            <a:r>
              <a:rPr lang="en-US" sz="1400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inner of multiple international renowned awards</a:t>
            </a:r>
          </a:p>
        </p:txBody>
      </p: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1C91577E-B72E-493A-901F-0DD405B3BF69}"/>
              </a:ext>
            </a:extLst>
          </p:cNvPr>
          <p:cNvCxnSpPr/>
          <p:nvPr/>
        </p:nvCxnSpPr>
        <p:spPr>
          <a:xfrm>
            <a:off x="695325" y="5619101"/>
            <a:ext cx="3735705" cy="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Freeform 1676">
            <a:extLst>
              <a:ext uri="{FF2B5EF4-FFF2-40B4-BE49-F238E27FC236}">
                <a16:creationId xmlns:a16="http://schemas.microsoft.com/office/drawing/2014/main" id="{07D1F2EC-98F9-4C9A-B843-D63FF84CBA1F}"/>
              </a:ext>
            </a:extLst>
          </p:cNvPr>
          <p:cNvSpPr>
            <a:spLocks noEditPoints="1"/>
          </p:cNvSpPr>
          <p:nvPr/>
        </p:nvSpPr>
        <p:spPr bwMode="auto">
          <a:xfrm>
            <a:off x="832941" y="1819878"/>
            <a:ext cx="348847" cy="348847"/>
          </a:xfrm>
          <a:custGeom>
            <a:avLst/>
            <a:gdLst>
              <a:gd name="T0" fmla="*/ 374 w 719"/>
              <a:gd name="T1" fmla="*/ 267 h 719"/>
              <a:gd name="T2" fmla="*/ 366 w 719"/>
              <a:gd name="T3" fmla="*/ 263 h 719"/>
              <a:gd name="T4" fmla="*/ 362 w 719"/>
              <a:gd name="T5" fmla="*/ 254 h 719"/>
              <a:gd name="T6" fmla="*/ 366 w 719"/>
              <a:gd name="T7" fmla="*/ 247 h 719"/>
              <a:gd name="T8" fmla="*/ 374 w 719"/>
              <a:gd name="T9" fmla="*/ 243 h 719"/>
              <a:gd name="T10" fmla="*/ 621 w 719"/>
              <a:gd name="T11" fmla="*/ 244 h 719"/>
              <a:gd name="T12" fmla="*/ 627 w 719"/>
              <a:gd name="T13" fmla="*/ 250 h 719"/>
              <a:gd name="T14" fmla="*/ 627 w 719"/>
              <a:gd name="T15" fmla="*/ 260 h 719"/>
              <a:gd name="T16" fmla="*/ 621 w 719"/>
              <a:gd name="T17" fmla="*/ 265 h 719"/>
              <a:gd name="T18" fmla="*/ 616 w 719"/>
              <a:gd name="T19" fmla="*/ 528 h 719"/>
              <a:gd name="T20" fmla="*/ 370 w 719"/>
              <a:gd name="T21" fmla="*/ 527 h 719"/>
              <a:gd name="T22" fmla="*/ 363 w 719"/>
              <a:gd name="T23" fmla="*/ 521 h 719"/>
              <a:gd name="T24" fmla="*/ 363 w 719"/>
              <a:gd name="T25" fmla="*/ 512 h 719"/>
              <a:gd name="T26" fmla="*/ 370 w 719"/>
              <a:gd name="T27" fmla="*/ 505 h 719"/>
              <a:gd name="T28" fmla="*/ 616 w 719"/>
              <a:gd name="T29" fmla="*/ 504 h 719"/>
              <a:gd name="T30" fmla="*/ 625 w 719"/>
              <a:gd name="T31" fmla="*/ 507 h 719"/>
              <a:gd name="T32" fmla="*/ 628 w 719"/>
              <a:gd name="T33" fmla="*/ 516 h 719"/>
              <a:gd name="T34" fmla="*/ 625 w 719"/>
              <a:gd name="T35" fmla="*/ 525 h 719"/>
              <a:gd name="T36" fmla="*/ 616 w 719"/>
              <a:gd name="T37" fmla="*/ 528 h 719"/>
              <a:gd name="T38" fmla="*/ 171 w 719"/>
              <a:gd name="T39" fmla="*/ 279 h 719"/>
              <a:gd name="T40" fmla="*/ 164 w 719"/>
              <a:gd name="T41" fmla="*/ 282 h 719"/>
              <a:gd name="T42" fmla="*/ 155 w 719"/>
              <a:gd name="T43" fmla="*/ 279 h 719"/>
              <a:gd name="T44" fmla="*/ 92 w 719"/>
              <a:gd name="T45" fmla="*/ 214 h 719"/>
              <a:gd name="T46" fmla="*/ 92 w 719"/>
              <a:gd name="T47" fmla="*/ 205 h 719"/>
              <a:gd name="T48" fmla="*/ 98 w 719"/>
              <a:gd name="T49" fmla="*/ 198 h 719"/>
              <a:gd name="T50" fmla="*/ 107 w 719"/>
              <a:gd name="T51" fmla="*/ 198 h 719"/>
              <a:gd name="T52" fmla="*/ 164 w 719"/>
              <a:gd name="T53" fmla="*/ 253 h 719"/>
              <a:gd name="T54" fmla="*/ 309 w 719"/>
              <a:gd name="T55" fmla="*/ 109 h 719"/>
              <a:gd name="T56" fmla="*/ 318 w 719"/>
              <a:gd name="T57" fmla="*/ 109 h 719"/>
              <a:gd name="T58" fmla="*/ 325 w 719"/>
              <a:gd name="T59" fmla="*/ 114 h 719"/>
              <a:gd name="T60" fmla="*/ 325 w 719"/>
              <a:gd name="T61" fmla="*/ 124 h 719"/>
              <a:gd name="T62" fmla="*/ 323 w 719"/>
              <a:gd name="T63" fmla="*/ 414 h 719"/>
              <a:gd name="T64" fmla="*/ 168 w 719"/>
              <a:gd name="T65" fmla="*/ 568 h 719"/>
              <a:gd name="T66" fmla="*/ 158 w 719"/>
              <a:gd name="T67" fmla="*/ 568 h 719"/>
              <a:gd name="T68" fmla="*/ 94 w 719"/>
              <a:gd name="T69" fmla="*/ 505 h 719"/>
              <a:gd name="T70" fmla="*/ 91 w 719"/>
              <a:gd name="T71" fmla="*/ 497 h 719"/>
              <a:gd name="T72" fmla="*/ 94 w 719"/>
              <a:gd name="T73" fmla="*/ 488 h 719"/>
              <a:gd name="T74" fmla="*/ 103 w 719"/>
              <a:gd name="T75" fmla="*/ 485 h 719"/>
              <a:gd name="T76" fmla="*/ 111 w 719"/>
              <a:gd name="T77" fmla="*/ 488 h 719"/>
              <a:gd name="T78" fmla="*/ 306 w 719"/>
              <a:gd name="T79" fmla="*/ 397 h 719"/>
              <a:gd name="T80" fmla="*/ 314 w 719"/>
              <a:gd name="T81" fmla="*/ 394 h 719"/>
              <a:gd name="T82" fmla="*/ 323 w 719"/>
              <a:gd name="T83" fmla="*/ 398 h 719"/>
              <a:gd name="T84" fmla="*/ 326 w 719"/>
              <a:gd name="T85" fmla="*/ 406 h 719"/>
              <a:gd name="T86" fmla="*/ 323 w 719"/>
              <a:gd name="T87" fmla="*/ 414 h 719"/>
              <a:gd name="T88" fmla="*/ 12 w 719"/>
              <a:gd name="T89" fmla="*/ 0 h 719"/>
              <a:gd name="T90" fmla="*/ 3 w 719"/>
              <a:gd name="T91" fmla="*/ 5 h 719"/>
              <a:gd name="T92" fmla="*/ 0 w 719"/>
              <a:gd name="T93" fmla="*/ 13 h 719"/>
              <a:gd name="T94" fmla="*/ 1 w 719"/>
              <a:gd name="T95" fmla="*/ 713 h 719"/>
              <a:gd name="T96" fmla="*/ 8 w 719"/>
              <a:gd name="T97" fmla="*/ 719 h 719"/>
              <a:gd name="T98" fmla="*/ 707 w 719"/>
              <a:gd name="T99" fmla="*/ 719 h 719"/>
              <a:gd name="T100" fmla="*/ 716 w 719"/>
              <a:gd name="T101" fmla="*/ 716 h 719"/>
              <a:gd name="T102" fmla="*/ 719 w 719"/>
              <a:gd name="T103" fmla="*/ 707 h 719"/>
              <a:gd name="T104" fmla="*/ 718 w 719"/>
              <a:gd name="T105" fmla="*/ 8 h 719"/>
              <a:gd name="T106" fmla="*/ 711 w 719"/>
              <a:gd name="T107" fmla="*/ 2 h 7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719" h="719">
                <a:moveTo>
                  <a:pt x="616" y="267"/>
                </a:moveTo>
                <a:lnTo>
                  <a:pt x="374" y="267"/>
                </a:lnTo>
                <a:lnTo>
                  <a:pt x="370" y="265"/>
                </a:lnTo>
                <a:lnTo>
                  <a:pt x="366" y="263"/>
                </a:lnTo>
                <a:lnTo>
                  <a:pt x="363" y="260"/>
                </a:lnTo>
                <a:lnTo>
                  <a:pt x="362" y="254"/>
                </a:lnTo>
                <a:lnTo>
                  <a:pt x="363" y="250"/>
                </a:lnTo>
                <a:lnTo>
                  <a:pt x="366" y="247"/>
                </a:lnTo>
                <a:lnTo>
                  <a:pt x="370" y="244"/>
                </a:lnTo>
                <a:lnTo>
                  <a:pt x="374" y="243"/>
                </a:lnTo>
                <a:lnTo>
                  <a:pt x="616" y="243"/>
                </a:lnTo>
                <a:lnTo>
                  <a:pt x="621" y="244"/>
                </a:lnTo>
                <a:lnTo>
                  <a:pt x="625" y="247"/>
                </a:lnTo>
                <a:lnTo>
                  <a:pt x="627" y="250"/>
                </a:lnTo>
                <a:lnTo>
                  <a:pt x="628" y="254"/>
                </a:lnTo>
                <a:lnTo>
                  <a:pt x="627" y="260"/>
                </a:lnTo>
                <a:lnTo>
                  <a:pt x="625" y="263"/>
                </a:lnTo>
                <a:lnTo>
                  <a:pt x="621" y="265"/>
                </a:lnTo>
                <a:lnTo>
                  <a:pt x="616" y="267"/>
                </a:lnTo>
                <a:close/>
                <a:moveTo>
                  <a:pt x="616" y="528"/>
                </a:moveTo>
                <a:lnTo>
                  <a:pt x="374" y="528"/>
                </a:lnTo>
                <a:lnTo>
                  <a:pt x="370" y="527"/>
                </a:lnTo>
                <a:lnTo>
                  <a:pt x="366" y="525"/>
                </a:lnTo>
                <a:lnTo>
                  <a:pt x="363" y="521"/>
                </a:lnTo>
                <a:lnTo>
                  <a:pt x="362" y="516"/>
                </a:lnTo>
                <a:lnTo>
                  <a:pt x="363" y="512"/>
                </a:lnTo>
                <a:lnTo>
                  <a:pt x="366" y="507"/>
                </a:lnTo>
                <a:lnTo>
                  <a:pt x="370" y="505"/>
                </a:lnTo>
                <a:lnTo>
                  <a:pt x="374" y="504"/>
                </a:lnTo>
                <a:lnTo>
                  <a:pt x="616" y="504"/>
                </a:lnTo>
                <a:lnTo>
                  <a:pt x="621" y="505"/>
                </a:lnTo>
                <a:lnTo>
                  <a:pt x="625" y="507"/>
                </a:lnTo>
                <a:lnTo>
                  <a:pt x="627" y="512"/>
                </a:lnTo>
                <a:lnTo>
                  <a:pt x="628" y="516"/>
                </a:lnTo>
                <a:lnTo>
                  <a:pt x="627" y="521"/>
                </a:lnTo>
                <a:lnTo>
                  <a:pt x="625" y="525"/>
                </a:lnTo>
                <a:lnTo>
                  <a:pt x="621" y="527"/>
                </a:lnTo>
                <a:lnTo>
                  <a:pt x="616" y="528"/>
                </a:lnTo>
                <a:close/>
                <a:moveTo>
                  <a:pt x="323" y="127"/>
                </a:moveTo>
                <a:lnTo>
                  <a:pt x="171" y="279"/>
                </a:lnTo>
                <a:lnTo>
                  <a:pt x="168" y="282"/>
                </a:lnTo>
                <a:lnTo>
                  <a:pt x="164" y="282"/>
                </a:lnTo>
                <a:lnTo>
                  <a:pt x="158" y="282"/>
                </a:lnTo>
                <a:lnTo>
                  <a:pt x="155" y="279"/>
                </a:lnTo>
                <a:lnTo>
                  <a:pt x="94" y="218"/>
                </a:lnTo>
                <a:lnTo>
                  <a:pt x="92" y="214"/>
                </a:lnTo>
                <a:lnTo>
                  <a:pt x="91" y="209"/>
                </a:lnTo>
                <a:lnTo>
                  <a:pt x="92" y="205"/>
                </a:lnTo>
                <a:lnTo>
                  <a:pt x="94" y="201"/>
                </a:lnTo>
                <a:lnTo>
                  <a:pt x="98" y="198"/>
                </a:lnTo>
                <a:lnTo>
                  <a:pt x="103" y="197"/>
                </a:lnTo>
                <a:lnTo>
                  <a:pt x="107" y="198"/>
                </a:lnTo>
                <a:lnTo>
                  <a:pt x="111" y="201"/>
                </a:lnTo>
                <a:lnTo>
                  <a:pt x="164" y="253"/>
                </a:lnTo>
                <a:lnTo>
                  <a:pt x="306" y="111"/>
                </a:lnTo>
                <a:lnTo>
                  <a:pt x="309" y="109"/>
                </a:lnTo>
                <a:lnTo>
                  <a:pt x="314" y="108"/>
                </a:lnTo>
                <a:lnTo>
                  <a:pt x="318" y="109"/>
                </a:lnTo>
                <a:lnTo>
                  <a:pt x="323" y="111"/>
                </a:lnTo>
                <a:lnTo>
                  <a:pt x="325" y="114"/>
                </a:lnTo>
                <a:lnTo>
                  <a:pt x="326" y="119"/>
                </a:lnTo>
                <a:lnTo>
                  <a:pt x="325" y="124"/>
                </a:lnTo>
                <a:lnTo>
                  <a:pt x="323" y="127"/>
                </a:lnTo>
                <a:close/>
                <a:moveTo>
                  <a:pt x="323" y="414"/>
                </a:moveTo>
                <a:lnTo>
                  <a:pt x="171" y="565"/>
                </a:lnTo>
                <a:lnTo>
                  <a:pt x="168" y="568"/>
                </a:lnTo>
                <a:lnTo>
                  <a:pt x="164" y="569"/>
                </a:lnTo>
                <a:lnTo>
                  <a:pt x="158" y="568"/>
                </a:lnTo>
                <a:lnTo>
                  <a:pt x="155" y="565"/>
                </a:lnTo>
                <a:lnTo>
                  <a:pt x="94" y="505"/>
                </a:lnTo>
                <a:lnTo>
                  <a:pt x="92" y="502"/>
                </a:lnTo>
                <a:lnTo>
                  <a:pt x="91" y="497"/>
                </a:lnTo>
                <a:lnTo>
                  <a:pt x="92" y="493"/>
                </a:lnTo>
                <a:lnTo>
                  <a:pt x="94" y="488"/>
                </a:lnTo>
                <a:lnTo>
                  <a:pt x="98" y="486"/>
                </a:lnTo>
                <a:lnTo>
                  <a:pt x="103" y="485"/>
                </a:lnTo>
                <a:lnTo>
                  <a:pt x="107" y="486"/>
                </a:lnTo>
                <a:lnTo>
                  <a:pt x="111" y="488"/>
                </a:lnTo>
                <a:lnTo>
                  <a:pt x="164" y="540"/>
                </a:lnTo>
                <a:lnTo>
                  <a:pt x="306" y="397"/>
                </a:lnTo>
                <a:lnTo>
                  <a:pt x="309" y="395"/>
                </a:lnTo>
                <a:lnTo>
                  <a:pt x="314" y="394"/>
                </a:lnTo>
                <a:lnTo>
                  <a:pt x="318" y="395"/>
                </a:lnTo>
                <a:lnTo>
                  <a:pt x="323" y="398"/>
                </a:lnTo>
                <a:lnTo>
                  <a:pt x="325" y="401"/>
                </a:lnTo>
                <a:lnTo>
                  <a:pt x="326" y="406"/>
                </a:lnTo>
                <a:lnTo>
                  <a:pt x="325" y="410"/>
                </a:lnTo>
                <a:lnTo>
                  <a:pt x="323" y="414"/>
                </a:lnTo>
                <a:close/>
                <a:moveTo>
                  <a:pt x="707" y="0"/>
                </a:moveTo>
                <a:lnTo>
                  <a:pt x="12" y="0"/>
                </a:lnTo>
                <a:lnTo>
                  <a:pt x="8" y="2"/>
                </a:lnTo>
                <a:lnTo>
                  <a:pt x="3" y="5"/>
                </a:lnTo>
                <a:lnTo>
                  <a:pt x="1" y="8"/>
                </a:lnTo>
                <a:lnTo>
                  <a:pt x="0" y="13"/>
                </a:lnTo>
                <a:lnTo>
                  <a:pt x="0" y="707"/>
                </a:lnTo>
                <a:lnTo>
                  <a:pt x="1" y="713"/>
                </a:lnTo>
                <a:lnTo>
                  <a:pt x="3" y="716"/>
                </a:lnTo>
                <a:lnTo>
                  <a:pt x="8" y="719"/>
                </a:lnTo>
                <a:lnTo>
                  <a:pt x="12" y="719"/>
                </a:lnTo>
                <a:lnTo>
                  <a:pt x="707" y="719"/>
                </a:lnTo>
                <a:lnTo>
                  <a:pt x="711" y="719"/>
                </a:lnTo>
                <a:lnTo>
                  <a:pt x="716" y="716"/>
                </a:lnTo>
                <a:lnTo>
                  <a:pt x="718" y="713"/>
                </a:lnTo>
                <a:lnTo>
                  <a:pt x="719" y="707"/>
                </a:lnTo>
                <a:lnTo>
                  <a:pt x="719" y="13"/>
                </a:lnTo>
                <a:lnTo>
                  <a:pt x="718" y="8"/>
                </a:lnTo>
                <a:lnTo>
                  <a:pt x="716" y="5"/>
                </a:lnTo>
                <a:lnTo>
                  <a:pt x="711" y="2"/>
                </a:lnTo>
                <a:lnTo>
                  <a:pt x="707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" name="Billede 62">
            <a:extLst>
              <a:ext uri="{FF2B5EF4-FFF2-40B4-BE49-F238E27FC236}">
                <a16:creationId xmlns:a16="http://schemas.microsoft.com/office/drawing/2014/main" id="{8B04AFAC-C6CE-C1EA-0CD0-63A8433766C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5825" y="3207290"/>
            <a:ext cx="337014" cy="311818"/>
          </a:xfrm>
          <a:prstGeom prst="rect">
            <a:avLst/>
          </a:prstGeom>
          <a:ln>
            <a:noFill/>
          </a:ln>
        </p:spPr>
      </p:pic>
      <p:pic>
        <p:nvPicPr>
          <p:cNvPr id="5" name="Billede 62">
            <a:extLst>
              <a:ext uri="{FF2B5EF4-FFF2-40B4-BE49-F238E27FC236}">
                <a16:creationId xmlns:a16="http://schemas.microsoft.com/office/drawing/2014/main" id="{07A4583B-6A3F-E47C-45DC-D69550EAE2F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2711" y="2978961"/>
            <a:ext cx="337014" cy="311818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99087425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4CBCE5-0EC0-4F31-BDE3-7FB0CAAAE6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4CBCE5-0EC0-4F31-BDE3-7FB0CAAAE6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Slide Number Placeholder 2">
            <a:extLst>
              <a:ext uri="{FF2B5EF4-FFF2-40B4-BE49-F238E27FC236}">
                <a16:creationId xmlns:a16="http://schemas.microsoft.com/office/drawing/2014/main" id="{9C290F45-7044-9C69-3514-4390006DF736}"/>
              </a:ext>
            </a:extLst>
          </p:cNvPr>
          <p:cNvSpPr txBox="1">
            <a:spLocks/>
          </p:cNvSpPr>
          <p:nvPr/>
        </p:nvSpPr>
        <p:spPr>
          <a:xfrm>
            <a:off x="11700129" y="6534000"/>
            <a:ext cx="252000" cy="180000"/>
          </a:xfrm>
          <a:prstGeom prst="rect">
            <a:avLst/>
          </a:prstGeom>
        </p:spPr>
        <p:txBody>
          <a:bodyPr/>
          <a:lstStyle>
            <a:defPPr>
              <a:defRPr lang="da-DK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471EAA7-3162-4B69-9563-88D5A3B75B98}" type="slidenum">
              <a:rPr lang="en-GB" smtClean="0"/>
              <a:pPr/>
              <a:t>7</a:t>
            </a:fld>
            <a:endParaRPr lang="en-GB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B83126E-5B9D-D045-21EB-C9A00CBB046A}"/>
              </a:ext>
            </a:extLst>
          </p:cNvPr>
          <p:cNvSpPr/>
          <p:nvPr/>
        </p:nvSpPr>
        <p:spPr>
          <a:xfrm>
            <a:off x="0" y="1596725"/>
            <a:ext cx="12192000" cy="42995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044DDECA-6510-1205-0C61-2237E8DF0DB6}"/>
              </a:ext>
            </a:extLst>
          </p:cNvPr>
          <p:cNvSpPr txBox="1">
            <a:spLocks/>
          </p:cNvSpPr>
          <p:nvPr/>
        </p:nvSpPr>
        <p:spPr>
          <a:xfrm>
            <a:off x="720000" y="855054"/>
            <a:ext cx="8424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378" rtl="0" eaLnBrk="1" latinLnBrk="0" hangingPunct="1">
              <a:lnSpc>
                <a:spcPts val="4300"/>
              </a:lnSpc>
              <a:spcBef>
                <a:spcPct val="0"/>
              </a:spcBef>
              <a:buNone/>
              <a:defRPr lang="nn-NO" sz="4000" b="0" i="0" kern="1200" cap="none" spc="0" baseline="0" noProof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11367C"/>
                </a:solidFill>
                <a:latin typeface="Oscine" panose="020B0506040202020204" pitchFamily="34" charset="0"/>
                <a:cs typeface="Oscine" panose="020B0506040202020204" pitchFamily="34" charset="0"/>
              </a:rPr>
              <a:t>MiR Revenue – Fast Market Adoption</a:t>
            </a:r>
            <a:endParaRPr lang="en-US" dirty="0">
              <a:latin typeface="Oscine" panose="020B0506040202020204" pitchFamily="34" charset="0"/>
              <a:cs typeface="Oscine" panose="020B0506040202020204" pitchFamily="34" charset="0"/>
            </a:endParaRPr>
          </a:p>
        </p:txBody>
      </p:sp>
      <p:graphicFrame>
        <p:nvGraphicFramePr>
          <p:cNvPr id="31" name="Diagram 2">
            <a:extLst>
              <a:ext uri="{FF2B5EF4-FFF2-40B4-BE49-F238E27FC236}">
                <a16:creationId xmlns:a16="http://schemas.microsoft.com/office/drawing/2014/main" id="{591A0E52-C123-7FFA-24D6-7F6BEAD3738A}"/>
              </a:ext>
            </a:extLst>
          </p:cNvPr>
          <p:cNvGraphicFramePr>
            <a:graphicFrameLocks/>
          </p:cNvGraphicFramePr>
          <p:nvPr/>
        </p:nvGraphicFramePr>
        <p:xfrm>
          <a:off x="720000" y="1962534"/>
          <a:ext cx="6632480" cy="37185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32" name="Group 31">
            <a:extLst>
              <a:ext uri="{FF2B5EF4-FFF2-40B4-BE49-F238E27FC236}">
                <a16:creationId xmlns:a16="http://schemas.microsoft.com/office/drawing/2014/main" id="{865D12AF-4EEC-CD84-E035-4FB6EA83DFC1}"/>
              </a:ext>
            </a:extLst>
          </p:cNvPr>
          <p:cNvGrpSpPr/>
          <p:nvPr/>
        </p:nvGrpSpPr>
        <p:grpSpPr>
          <a:xfrm>
            <a:off x="7995301" y="4005158"/>
            <a:ext cx="425687" cy="238448"/>
            <a:chOff x="7995301" y="3585850"/>
            <a:chExt cx="425687" cy="238448"/>
          </a:xfrm>
        </p:grpSpPr>
        <p:sp>
          <p:nvSpPr>
            <p:cNvPr id="33" name="Isosceles Triangle 32">
              <a:extLst>
                <a:ext uri="{FF2B5EF4-FFF2-40B4-BE49-F238E27FC236}">
                  <a16:creationId xmlns:a16="http://schemas.microsoft.com/office/drawing/2014/main" id="{44979CAE-453A-DE44-B8A9-A4CD9DA2137B}"/>
                </a:ext>
              </a:extLst>
            </p:cNvPr>
            <p:cNvSpPr/>
            <p:nvPr/>
          </p:nvSpPr>
          <p:spPr>
            <a:xfrm rot="5400000" flipH="1">
              <a:off x="8198985" y="3602294"/>
              <a:ext cx="238448" cy="205559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Isosceles Triangle 33">
              <a:extLst>
                <a:ext uri="{FF2B5EF4-FFF2-40B4-BE49-F238E27FC236}">
                  <a16:creationId xmlns:a16="http://schemas.microsoft.com/office/drawing/2014/main" id="{A834FF9A-4B91-2BAE-AA3E-2270ED60B30B}"/>
                </a:ext>
              </a:extLst>
            </p:cNvPr>
            <p:cNvSpPr/>
            <p:nvPr/>
          </p:nvSpPr>
          <p:spPr>
            <a:xfrm rot="5400000" flipH="1">
              <a:off x="7978857" y="3602294"/>
              <a:ext cx="238448" cy="205559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35" name="Billede 35">
            <a:extLst>
              <a:ext uri="{FF2B5EF4-FFF2-40B4-BE49-F238E27FC236}">
                <a16:creationId xmlns:a16="http://schemas.microsoft.com/office/drawing/2014/main" id="{783FBAB3-5C5A-AB98-8BFB-EA5466FB3E8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67775" y="2631166"/>
            <a:ext cx="2628900" cy="2986432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6DFC819E-AAC1-ADCE-442A-FE44506E9C4A}"/>
              </a:ext>
            </a:extLst>
          </p:cNvPr>
          <p:cNvSpPr txBox="1"/>
          <p:nvPr/>
        </p:nvSpPr>
        <p:spPr>
          <a:xfrm>
            <a:off x="9311450" y="3416496"/>
            <a:ext cx="1741549" cy="141577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800" b="1" dirty="0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Equal to </a:t>
            </a:r>
            <a:r>
              <a:rPr lang="en-US" sz="3200" b="1" dirty="0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+9000 </a:t>
            </a:r>
            <a:r>
              <a:rPr lang="en-US" sz="1800" b="1" dirty="0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robots </a:t>
            </a:r>
            <a:br>
              <a:rPr lang="en-US" sz="18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1800" b="1" dirty="0">
                <a:solidFill>
                  <a:schemeClr val="bg1"/>
                </a:solidFill>
                <a:latin typeface="Open sans"/>
                <a:ea typeface="Open sans"/>
                <a:cs typeface="Open sans"/>
              </a:rPr>
              <a:t>sold globally</a:t>
            </a:r>
          </a:p>
        </p:txBody>
      </p:sp>
    </p:spTree>
    <p:extLst>
      <p:ext uri="{BB962C8B-B14F-4D97-AF65-F5344CB8AC3E}">
        <p14:creationId xmlns:p14="http://schemas.microsoft.com/office/powerpoint/2010/main" val="1342284018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33">
            <a:extLst>
              <a:ext uri="{FF2B5EF4-FFF2-40B4-BE49-F238E27FC236}">
                <a16:creationId xmlns:a16="http://schemas.microsoft.com/office/drawing/2014/main" id="{E2BB1893-1BBA-D2B1-86A4-AC7DBA01669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3879" y="4192443"/>
            <a:ext cx="1709477" cy="1930035"/>
          </a:xfrm>
          <a:prstGeom prst="rect">
            <a:avLst/>
          </a:prstGeom>
        </p:spPr>
      </p:pic>
      <p:pic>
        <p:nvPicPr>
          <p:cNvPr id="7" name="Billede 33">
            <a:extLst>
              <a:ext uri="{FF2B5EF4-FFF2-40B4-BE49-F238E27FC236}">
                <a16:creationId xmlns:a16="http://schemas.microsoft.com/office/drawing/2014/main" id="{7620DF2E-770A-D5F2-0F98-EB0907CC2D8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4477" y="2640887"/>
            <a:ext cx="1709477" cy="1930035"/>
          </a:xfrm>
          <a:prstGeom prst="rect">
            <a:avLst/>
          </a:prstGeom>
        </p:spPr>
      </p:pic>
      <p:pic>
        <p:nvPicPr>
          <p:cNvPr id="8" name="Billede 33">
            <a:extLst>
              <a:ext uri="{FF2B5EF4-FFF2-40B4-BE49-F238E27FC236}">
                <a16:creationId xmlns:a16="http://schemas.microsoft.com/office/drawing/2014/main" id="{2717FD46-3FDC-5B15-1220-3A62B01A141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9173" y="1132482"/>
            <a:ext cx="1709477" cy="1930035"/>
          </a:xfrm>
          <a:prstGeom prst="rect">
            <a:avLst/>
          </a:prstGeom>
        </p:spPr>
      </p:pic>
      <p:pic>
        <p:nvPicPr>
          <p:cNvPr id="9" name="Billede 37">
            <a:extLst>
              <a:ext uri="{FF2B5EF4-FFF2-40B4-BE49-F238E27FC236}">
                <a16:creationId xmlns:a16="http://schemas.microsoft.com/office/drawing/2014/main" id="{C882150C-EC8D-4FB5-F912-4F060F7000C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4917" y="4180513"/>
            <a:ext cx="1709477" cy="1941965"/>
          </a:xfrm>
          <a:prstGeom prst="rect">
            <a:avLst/>
          </a:prstGeom>
        </p:spPr>
      </p:pic>
      <p:pic>
        <p:nvPicPr>
          <p:cNvPr id="10" name="Billede 37">
            <a:extLst>
              <a:ext uri="{FF2B5EF4-FFF2-40B4-BE49-F238E27FC236}">
                <a16:creationId xmlns:a16="http://schemas.microsoft.com/office/drawing/2014/main" id="{2422FEA0-65A4-1C97-09AC-8583410813A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2252" y="1120552"/>
            <a:ext cx="1709477" cy="1941965"/>
          </a:xfrm>
          <a:prstGeom prst="rect">
            <a:avLst/>
          </a:prstGeom>
        </p:spPr>
      </p:pic>
      <p:pic>
        <p:nvPicPr>
          <p:cNvPr id="11" name="Billede 37">
            <a:extLst>
              <a:ext uri="{FF2B5EF4-FFF2-40B4-BE49-F238E27FC236}">
                <a16:creationId xmlns:a16="http://schemas.microsoft.com/office/drawing/2014/main" id="{126F938F-5630-2DEA-3885-6714C98B10A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9826" y="2640538"/>
            <a:ext cx="1709477" cy="1941965"/>
          </a:xfrm>
          <a:prstGeom prst="rect">
            <a:avLst/>
          </a:prstGeom>
        </p:spPr>
      </p:pic>
      <p:sp>
        <p:nvSpPr>
          <p:cNvPr id="12" name="Title 3">
            <a:extLst>
              <a:ext uri="{FF2B5EF4-FFF2-40B4-BE49-F238E27FC236}">
                <a16:creationId xmlns:a16="http://schemas.microsoft.com/office/drawing/2014/main" id="{4931730C-C0D2-9CCB-899A-D0568191815C}"/>
              </a:ext>
            </a:extLst>
          </p:cNvPr>
          <p:cNvSpPr txBox="1">
            <a:spLocks/>
          </p:cNvSpPr>
          <p:nvPr/>
        </p:nvSpPr>
        <p:spPr>
          <a:xfrm>
            <a:off x="719999" y="828000"/>
            <a:ext cx="5588651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378" rtl="0" eaLnBrk="1" latinLnBrk="0" hangingPunct="1">
              <a:lnSpc>
                <a:spcPts val="4300"/>
              </a:lnSpc>
              <a:spcBef>
                <a:spcPct val="0"/>
              </a:spcBef>
              <a:buNone/>
              <a:defRPr lang="nn-NO" sz="4000" b="0" i="0" kern="1200" cap="none" spc="0" baseline="0" noProof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>
                <a:latin typeface="Oscine" panose="020B0506040202020204" pitchFamily="34" charset="0"/>
                <a:ea typeface="+mn-ea"/>
                <a:cs typeface="Oscine" panose="020B0506040202020204" pitchFamily="34" charset="0"/>
              </a:rPr>
              <a:t>Full solution provider</a:t>
            </a:r>
            <a:br>
              <a:rPr lang="en-US">
                <a:latin typeface="Oscine" panose="020B0506040202020204" pitchFamily="34" charset="0"/>
                <a:ea typeface="+mn-ea"/>
                <a:cs typeface="Oscine" panose="020B0506040202020204" pitchFamily="34" charset="0"/>
              </a:rPr>
            </a:br>
            <a:endParaRPr lang="en-US" sz="2000">
              <a:latin typeface="Oscine" panose="020B0506040202020204" pitchFamily="34" charset="0"/>
              <a:cs typeface="Oscine" panose="020B0506040202020204" pitchFamily="34" charset="0"/>
            </a:endParaRPr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98F9DFDC-F282-EB1D-E500-8E63613A94BA}"/>
              </a:ext>
            </a:extLst>
          </p:cNvPr>
          <p:cNvSpPr txBox="1">
            <a:spLocks/>
          </p:cNvSpPr>
          <p:nvPr/>
        </p:nvSpPr>
        <p:spPr>
          <a:xfrm>
            <a:off x="7870302" y="3446758"/>
            <a:ext cx="1238907" cy="4924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16000" indent="-216000" algn="l" defTabSz="914378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75000"/>
              <a:buFontTx/>
              <a:buBlip>
                <a:blip r:embed="rId4"/>
              </a:buBlip>
              <a:defRPr lang="nn-NO" sz="2000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438" indent="-215900" algn="l" defTabSz="914378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75000"/>
              <a:buFontTx/>
              <a:buBlip>
                <a:blip r:embed="rId5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9613" indent="-225425" algn="l" defTabSz="914378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75000"/>
              <a:buFontTx/>
              <a:buBlip>
                <a:blip r:embed="rId5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2350" indent="-236538" algn="l" defTabSz="914378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75000"/>
              <a:buFontTx/>
              <a:buBlip>
                <a:blip r:embed="rId5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l" defTabSz="914378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" panose="020B0604020202020204" pitchFamily="34" charset="0"/>
              <a:buNone/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</a:pPr>
            <a:r>
              <a:rPr lang="en-US" sz="1600" b="1">
                <a:solidFill>
                  <a:schemeClr val="accent2"/>
                </a:solidFill>
                <a:latin typeface="Oscine" panose="020B0506040202020204" pitchFamily="34" charset="0"/>
                <a:ea typeface="+mj-ea"/>
              </a:rPr>
              <a:t>MiR solutions setup</a:t>
            </a:r>
            <a:endParaRPr lang="en-DK" sz="1600" b="1">
              <a:solidFill>
                <a:schemeClr val="accent2"/>
              </a:solidFill>
              <a:latin typeface="Oscine" panose="020B0506040202020204" pitchFamily="34" charset="0"/>
              <a:ea typeface="+mj-ea"/>
            </a:endParaRPr>
          </a:p>
        </p:txBody>
      </p:sp>
      <p:sp>
        <p:nvSpPr>
          <p:cNvPr id="14" name="Text Placeholder 1">
            <a:extLst>
              <a:ext uri="{FF2B5EF4-FFF2-40B4-BE49-F238E27FC236}">
                <a16:creationId xmlns:a16="http://schemas.microsoft.com/office/drawing/2014/main" id="{2A8F5494-1858-1A76-DB36-6EB054598036}"/>
              </a:ext>
            </a:extLst>
          </p:cNvPr>
          <p:cNvSpPr txBox="1">
            <a:spLocks/>
          </p:cNvSpPr>
          <p:nvPr/>
        </p:nvSpPr>
        <p:spPr>
          <a:xfrm>
            <a:off x="6974397" y="2221668"/>
            <a:ext cx="129268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16000" indent="-216000" algn="l" defTabSz="914378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75000"/>
              <a:buFontTx/>
              <a:buBlip>
                <a:blip r:embed="rId4"/>
              </a:buBlip>
              <a:defRPr lang="nn-NO" sz="2000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438" indent="-215900" algn="l" defTabSz="914378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75000"/>
              <a:buFontTx/>
              <a:buBlip>
                <a:blip r:embed="rId5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9613" indent="-225425" algn="l" defTabSz="914378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75000"/>
              <a:buFontTx/>
              <a:buBlip>
                <a:blip r:embed="rId5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2350" indent="-236538" algn="l" defTabSz="914378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75000"/>
              <a:buFontTx/>
              <a:buBlip>
                <a:blip r:embed="rId5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l" defTabSz="914378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" panose="020B0604020202020204" pitchFamily="34" charset="0"/>
              <a:buNone/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ts val="0"/>
              </a:spcBef>
              <a:buNone/>
            </a:pPr>
            <a:r>
              <a:rPr lang="en-US" sz="1200" b="1">
                <a:solidFill>
                  <a:schemeClr val="bg1"/>
                </a:solidFill>
                <a:effectLst>
                  <a:outerShdw blurRad="215900" sx="102000" sy="102000" algn="ctr" rotWithShape="0">
                    <a:prstClr val="black">
                      <a:alpha val="26000"/>
                    </a:prstClr>
                  </a:outerShdw>
                </a:effectLst>
                <a:latin typeface="Oscine" panose="020B0506040202020204" pitchFamily="34" charset="0"/>
                <a:ea typeface="Open Sans" panose="020B0606030504020204" pitchFamily="34" charset="0"/>
                <a:cs typeface="Oscine" panose="020B0506040202020204" pitchFamily="34" charset="0"/>
              </a:rPr>
              <a:t>Robot &amp; solution portfolio</a:t>
            </a:r>
            <a:endParaRPr lang="en-DK" sz="1200" b="1">
              <a:solidFill>
                <a:schemeClr val="bg1"/>
              </a:solidFill>
              <a:effectLst>
                <a:outerShdw blurRad="215900" sx="102000" sy="102000" algn="ctr" rotWithShape="0">
                  <a:prstClr val="black">
                    <a:alpha val="26000"/>
                  </a:prstClr>
                </a:outerShdw>
              </a:effectLst>
              <a:latin typeface="Oscine" panose="020B0506040202020204" pitchFamily="34" charset="0"/>
              <a:ea typeface="Open Sans" panose="020B0606030504020204" pitchFamily="34" charset="0"/>
              <a:cs typeface="Oscine" panose="020B0506040202020204" pitchFamily="34" charset="0"/>
            </a:endParaRPr>
          </a:p>
        </p:txBody>
      </p:sp>
      <p:sp>
        <p:nvSpPr>
          <p:cNvPr id="15" name="Text Placeholder 1">
            <a:extLst>
              <a:ext uri="{FF2B5EF4-FFF2-40B4-BE49-F238E27FC236}">
                <a16:creationId xmlns:a16="http://schemas.microsoft.com/office/drawing/2014/main" id="{4095A69A-2E44-338F-1295-A0E60455424B}"/>
              </a:ext>
            </a:extLst>
          </p:cNvPr>
          <p:cNvSpPr txBox="1">
            <a:spLocks/>
          </p:cNvSpPr>
          <p:nvPr/>
        </p:nvSpPr>
        <p:spPr>
          <a:xfrm>
            <a:off x="8783946" y="2145539"/>
            <a:ext cx="1238907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16000" indent="-216000" algn="l" defTabSz="914378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75000"/>
              <a:buFontTx/>
              <a:buBlip>
                <a:blip r:embed="rId4"/>
              </a:buBlip>
              <a:defRPr lang="nn-NO" sz="2000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438" indent="-215900" algn="l" defTabSz="914378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75000"/>
              <a:buFontTx/>
              <a:buBlip>
                <a:blip r:embed="rId5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9613" indent="-225425" algn="l" defTabSz="914378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75000"/>
              <a:buFontTx/>
              <a:buBlip>
                <a:blip r:embed="rId5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2350" indent="-236538" algn="l" defTabSz="914378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75000"/>
              <a:buFontTx/>
              <a:buBlip>
                <a:blip r:embed="rId5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l" defTabSz="914378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" panose="020B0604020202020204" pitchFamily="34" charset="0"/>
              <a:buNone/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ts val="0"/>
              </a:spcBef>
              <a:buNone/>
            </a:pPr>
            <a:r>
              <a:rPr lang="en-US" sz="1200" b="1">
                <a:solidFill>
                  <a:schemeClr val="bg1"/>
                </a:solidFill>
                <a:effectLst>
                  <a:outerShdw blurRad="215900" sx="102000" sy="102000" algn="ctr" rotWithShape="0">
                    <a:prstClr val="black">
                      <a:alpha val="26000"/>
                    </a:prstClr>
                  </a:outerShdw>
                </a:effectLst>
                <a:latin typeface="Oscine" panose="020B0506040202020204" pitchFamily="34" charset="0"/>
                <a:ea typeface="Open Sans" panose="020B0606030504020204" pitchFamily="34" charset="0"/>
                <a:cs typeface="Oscine" panose="020B0506040202020204" pitchFamily="34" charset="0"/>
              </a:rPr>
              <a:t>Own Software &amp; Fleet Manager</a:t>
            </a:r>
            <a:endParaRPr lang="en-DK" sz="1200" b="1">
              <a:solidFill>
                <a:schemeClr val="bg1"/>
              </a:solidFill>
              <a:effectLst>
                <a:outerShdw blurRad="215900" sx="102000" sy="102000" algn="ctr" rotWithShape="0">
                  <a:prstClr val="black">
                    <a:alpha val="26000"/>
                  </a:prstClr>
                </a:outerShdw>
              </a:effectLst>
              <a:latin typeface="Oscine" panose="020B0506040202020204" pitchFamily="34" charset="0"/>
              <a:ea typeface="Open Sans" panose="020B0606030504020204" pitchFamily="34" charset="0"/>
              <a:cs typeface="Oscine" panose="020B05060402020202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11A9D0A-54A6-FC12-7D59-437A44E471CC}"/>
              </a:ext>
            </a:extLst>
          </p:cNvPr>
          <p:cNvGrpSpPr/>
          <p:nvPr/>
        </p:nvGrpSpPr>
        <p:grpSpPr>
          <a:xfrm>
            <a:off x="6251554" y="3123834"/>
            <a:ext cx="974175" cy="1132404"/>
            <a:chOff x="6642213" y="3159125"/>
            <a:chExt cx="974175" cy="1132404"/>
          </a:xfrm>
        </p:grpSpPr>
        <p:sp>
          <p:nvSpPr>
            <p:cNvPr id="17" name="Text Placeholder 1">
              <a:extLst>
                <a:ext uri="{FF2B5EF4-FFF2-40B4-BE49-F238E27FC236}">
                  <a16:creationId xmlns:a16="http://schemas.microsoft.com/office/drawing/2014/main" id="{449FA4B7-A105-5171-E906-F4E86EC11A94}"/>
                </a:ext>
              </a:extLst>
            </p:cNvPr>
            <p:cNvSpPr txBox="1">
              <a:spLocks/>
            </p:cNvSpPr>
            <p:nvPr/>
          </p:nvSpPr>
          <p:spPr>
            <a:xfrm>
              <a:off x="6642213" y="3737531"/>
              <a:ext cx="974175" cy="55399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216000" indent="-216000" algn="l" defTabSz="914378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75000"/>
                <a:buFontTx/>
                <a:buBlip>
                  <a:blip r:embed="rId4"/>
                </a:buBlip>
                <a:defRPr lang="nn-NO" sz="2000" kern="1200" baseline="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2438" indent="-215900" algn="l" defTabSz="914378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75000"/>
                <a:buFontTx/>
                <a:buBlip>
                  <a:blip r:embed="rId5"/>
                </a:buBlip>
                <a:defRPr lang="nn-NO" sz="2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09613" indent="-225425" algn="l" defTabSz="914378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75000"/>
                <a:buFontTx/>
                <a:buBlip>
                  <a:blip r:embed="rId5"/>
                </a:buBlip>
                <a:defRPr lang="nn-NO" sz="2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2350" indent="-236538" algn="l" defTabSz="914378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75000"/>
                <a:buFontTx/>
                <a:buBlip>
                  <a:blip r:embed="rId5"/>
                </a:buBlip>
                <a:defRPr lang="nn-NO" sz="2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64000" indent="0" algn="l" defTabSz="914378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100000"/>
                <a:buFont typeface="Arial" panose="020B0604020202020204" pitchFamily="34" charset="0"/>
                <a:buNone/>
                <a:defRPr lang="nn-NO" sz="2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537" indent="-228594" algn="l" defTabSz="914378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726" indent="-228594" algn="l" defTabSz="914378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915" indent="-228594" algn="l" defTabSz="914378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8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0" indent="0" algn="ctr">
                <a:spcBef>
                  <a:spcPts val="0"/>
                </a:spcBef>
                <a:buNone/>
              </a:pPr>
              <a:r>
                <a:rPr lang="en-US" sz="1200" b="1">
                  <a:solidFill>
                    <a:schemeClr val="bg1"/>
                  </a:solidFill>
                  <a:effectLst>
                    <a:outerShdw blurRad="215900" sx="102000" sy="102000" algn="ctr" rotWithShape="0">
                      <a:prstClr val="black">
                        <a:alpha val="26000"/>
                      </a:prstClr>
                    </a:outerShdw>
                  </a:effectLst>
                  <a:latin typeface="Oscine" panose="020B0506040202020204" pitchFamily="34" charset="0"/>
                  <a:ea typeface="Open Sans" panose="020B0606030504020204" pitchFamily="34" charset="0"/>
                  <a:cs typeface="Oscine" panose="020B0506040202020204" pitchFamily="34" charset="0"/>
                </a:rPr>
                <a:t>Global Partner &amp; CSI setup for integration</a:t>
              </a:r>
              <a:endParaRPr lang="en-DK" sz="1200" b="1">
                <a:solidFill>
                  <a:schemeClr val="bg1"/>
                </a:solidFill>
                <a:effectLst>
                  <a:outerShdw blurRad="215900" sx="102000" sy="102000" algn="ctr" rotWithShape="0">
                    <a:prstClr val="black">
                      <a:alpha val="26000"/>
                    </a:prstClr>
                  </a:outerShdw>
                </a:effectLst>
                <a:latin typeface="Oscine" panose="020B0506040202020204" pitchFamily="34" charset="0"/>
                <a:ea typeface="Open Sans" panose="020B0606030504020204" pitchFamily="34" charset="0"/>
                <a:cs typeface="Oscine" panose="020B0506040202020204" pitchFamily="34" charset="0"/>
              </a:endParaRP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8B3A6650-C824-66F0-839D-A8FC55A4E518}"/>
                </a:ext>
              </a:extLst>
            </p:cNvPr>
            <p:cNvGrpSpPr/>
            <p:nvPr/>
          </p:nvGrpSpPr>
          <p:grpSpPr>
            <a:xfrm>
              <a:off x="6892422" y="3159125"/>
              <a:ext cx="440768" cy="443214"/>
              <a:chOff x="11601450" y="5076825"/>
              <a:chExt cx="285751" cy="287338"/>
            </a:xfrm>
            <a:solidFill>
              <a:schemeClr val="bg1"/>
            </a:solidFill>
          </p:grpSpPr>
          <p:sp>
            <p:nvSpPr>
              <p:cNvPr id="19" name="Freeform 2606">
                <a:extLst>
                  <a:ext uri="{FF2B5EF4-FFF2-40B4-BE49-F238E27FC236}">
                    <a16:creationId xmlns:a16="http://schemas.microsoft.com/office/drawing/2014/main" id="{FDBFED0B-85F6-FCDF-FC19-9853147852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82413" y="5230813"/>
                <a:ext cx="122238" cy="63500"/>
              </a:xfrm>
              <a:custGeom>
                <a:avLst/>
                <a:gdLst>
                  <a:gd name="T0" fmla="*/ 337 w 385"/>
                  <a:gd name="T1" fmla="*/ 202 h 202"/>
                  <a:gd name="T2" fmla="*/ 346 w 385"/>
                  <a:gd name="T3" fmla="*/ 177 h 202"/>
                  <a:gd name="T4" fmla="*/ 355 w 385"/>
                  <a:gd name="T5" fmla="*/ 151 h 202"/>
                  <a:gd name="T6" fmla="*/ 362 w 385"/>
                  <a:gd name="T7" fmla="*/ 126 h 202"/>
                  <a:gd name="T8" fmla="*/ 369 w 385"/>
                  <a:gd name="T9" fmla="*/ 101 h 202"/>
                  <a:gd name="T10" fmla="*/ 374 w 385"/>
                  <a:gd name="T11" fmla="*/ 75 h 202"/>
                  <a:gd name="T12" fmla="*/ 379 w 385"/>
                  <a:gd name="T13" fmla="*/ 50 h 202"/>
                  <a:gd name="T14" fmla="*/ 383 w 385"/>
                  <a:gd name="T15" fmla="*/ 26 h 202"/>
                  <a:gd name="T16" fmla="*/ 385 w 385"/>
                  <a:gd name="T17" fmla="*/ 0 h 202"/>
                  <a:gd name="T18" fmla="*/ 0 w 385"/>
                  <a:gd name="T19" fmla="*/ 0 h 202"/>
                  <a:gd name="T20" fmla="*/ 3 w 385"/>
                  <a:gd name="T21" fmla="*/ 26 h 202"/>
                  <a:gd name="T22" fmla="*/ 7 w 385"/>
                  <a:gd name="T23" fmla="*/ 50 h 202"/>
                  <a:gd name="T24" fmla="*/ 11 w 385"/>
                  <a:gd name="T25" fmla="*/ 75 h 202"/>
                  <a:gd name="T26" fmla="*/ 16 w 385"/>
                  <a:gd name="T27" fmla="*/ 101 h 202"/>
                  <a:gd name="T28" fmla="*/ 23 w 385"/>
                  <a:gd name="T29" fmla="*/ 126 h 202"/>
                  <a:gd name="T30" fmla="*/ 31 w 385"/>
                  <a:gd name="T31" fmla="*/ 151 h 202"/>
                  <a:gd name="T32" fmla="*/ 40 w 385"/>
                  <a:gd name="T33" fmla="*/ 177 h 202"/>
                  <a:gd name="T34" fmla="*/ 48 w 385"/>
                  <a:gd name="T35" fmla="*/ 202 h 202"/>
                  <a:gd name="T36" fmla="*/ 337 w 385"/>
                  <a:gd name="T37" fmla="*/ 202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85" h="202">
                    <a:moveTo>
                      <a:pt x="337" y="202"/>
                    </a:moveTo>
                    <a:lnTo>
                      <a:pt x="346" y="177"/>
                    </a:lnTo>
                    <a:lnTo>
                      <a:pt x="355" y="151"/>
                    </a:lnTo>
                    <a:lnTo>
                      <a:pt x="362" y="126"/>
                    </a:lnTo>
                    <a:lnTo>
                      <a:pt x="369" y="101"/>
                    </a:lnTo>
                    <a:lnTo>
                      <a:pt x="374" y="75"/>
                    </a:lnTo>
                    <a:lnTo>
                      <a:pt x="379" y="50"/>
                    </a:lnTo>
                    <a:lnTo>
                      <a:pt x="383" y="26"/>
                    </a:lnTo>
                    <a:lnTo>
                      <a:pt x="385" y="0"/>
                    </a:lnTo>
                    <a:lnTo>
                      <a:pt x="0" y="0"/>
                    </a:lnTo>
                    <a:lnTo>
                      <a:pt x="3" y="26"/>
                    </a:lnTo>
                    <a:lnTo>
                      <a:pt x="7" y="50"/>
                    </a:lnTo>
                    <a:lnTo>
                      <a:pt x="11" y="75"/>
                    </a:lnTo>
                    <a:lnTo>
                      <a:pt x="16" y="101"/>
                    </a:lnTo>
                    <a:lnTo>
                      <a:pt x="23" y="126"/>
                    </a:lnTo>
                    <a:lnTo>
                      <a:pt x="31" y="151"/>
                    </a:lnTo>
                    <a:lnTo>
                      <a:pt x="40" y="177"/>
                    </a:lnTo>
                    <a:lnTo>
                      <a:pt x="48" y="202"/>
                    </a:lnTo>
                    <a:lnTo>
                      <a:pt x="337" y="20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2607">
                <a:extLst>
                  <a:ext uri="{FF2B5EF4-FFF2-40B4-BE49-F238E27FC236}">
                    <a16:creationId xmlns:a16="http://schemas.microsoft.com/office/drawing/2014/main" id="{C6589248-3BB1-FAAB-30BD-244DE4EE2D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82413" y="5156200"/>
                <a:ext cx="123825" cy="65088"/>
              </a:xfrm>
              <a:custGeom>
                <a:avLst/>
                <a:gdLst>
                  <a:gd name="T0" fmla="*/ 363 w 390"/>
                  <a:gd name="T1" fmla="*/ 0 h 203"/>
                  <a:gd name="T2" fmla="*/ 26 w 390"/>
                  <a:gd name="T3" fmla="*/ 0 h 203"/>
                  <a:gd name="T4" fmla="*/ 18 w 390"/>
                  <a:gd name="T5" fmla="*/ 24 h 203"/>
                  <a:gd name="T6" fmla="*/ 13 w 390"/>
                  <a:gd name="T7" fmla="*/ 50 h 203"/>
                  <a:gd name="T8" fmla="*/ 9 w 390"/>
                  <a:gd name="T9" fmla="*/ 75 h 203"/>
                  <a:gd name="T10" fmla="*/ 4 w 390"/>
                  <a:gd name="T11" fmla="*/ 100 h 203"/>
                  <a:gd name="T12" fmla="*/ 2 w 390"/>
                  <a:gd name="T13" fmla="*/ 126 h 203"/>
                  <a:gd name="T14" fmla="*/ 0 w 390"/>
                  <a:gd name="T15" fmla="*/ 151 h 203"/>
                  <a:gd name="T16" fmla="*/ 0 w 390"/>
                  <a:gd name="T17" fmla="*/ 176 h 203"/>
                  <a:gd name="T18" fmla="*/ 0 w 390"/>
                  <a:gd name="T19" fmla="*/ 203 h 203"/>
                  <a:gd name="T20" fmla="*/ 390 w 390"/>
                  <a:gd name="T21" fmla="*/ 203 h 203"/>
                  <a:gd name="T22" fmla="*/ 390 w 390"/>
                  <a:gd name="T23" fmla="*/ 176 h 203"/>
                  <a:gd name="T24" fmla="*/ 390 w 390"/>
                  <a:gd name="T25" fmla="*/ 151 h 203"/>
                  <a:gd name="T26" fmla="*/ 387 w 390"/>
                  <a:gd name="T27" fmla="*/ 126 h 203"/>
                  <a:gd name="T28" fmla="*/ 385 w 390"/>
                  <a:gd name="T29" fmla="*/ 100 h 203"/>
                  <a:gd name="T30" fmla="*/ 381 w 390"/>
                  <a:gd name="T31" fmla="*/ 75 h 203"/>
                  <a:gd name="T32" fmla="*/ 376 w 390"/>
                  <a:gd name="T33" fmla="*/ 50 h 203"/>
                  <a:gd name="T34" fmla="*/ 371 w 390"/>
                  <a:gd name="T35" fmla="*/ 24 h 203"/>
                  <a:gd name="T36" fmla="*/ 363 w 390"/>
                  <a:gd name="T37" fmla="*/ 0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90" h="203">
                    <a:moveTo>
                      <a:pt x="363" y="0"/>
                    </a:moveTo>
                    <a:lnTo>
                      <a:pt x="26" y="0"/>
                    </a:lnTo>
                    <a:lnTo>
                      <a:pt x="18" y="24"/>
                    </a:lnTo>
                    <a:lnTo>
                      <a:pt x="13" y="50"/>
                    </a:lnTo>
                    <a:lnTo>
                      <a:pt x="9" y="75"/>
                    </a:lnTo>
                    <a:lnTo>
                      <a:pt x="4" y="100"/>
                    </a:lnTo>
                    <a:lnTo>
                      <a:pt x="2" y="126"/>
                    </a:lnTo>
                    <a:lnTo>
                      <a:pt x="0" y="151"/>
                    </a:lnTo>
                    <a:lnTo>
                      <a:pt x="0" y="176"/>
                    </a:lnTo>
                    <a:lnTo>
                      <a:pt x="0" y="203"/>
                    </a:lnTo>
                    <a:lnTo>
                      <a:pt x="390" y="203"/>
                    </a:lnTo>
                    <a:lnTo>
                      <a:pt x="390" y="176"/>
                    </a:lnTo>
                    <a:lnTo>
                      <a:pt x="390" y="151"/>
                    </a:lnTo>
                    <a:lnTo>
                      <a:pt x="387" y="126"/>
                    </a:lnTo>
                    <a:lnTo>
                      <a:pt x="385" y="100"/>
                    </a:lnTo>
                    <a:lnTo>
                      <a:pt x="381" y="75"/>
                    </a:lnTo>
                    <a:lnTo>
                      <a:pt x="376" y="50"/>
                    </a:lnTo>
                    <a:lnTo>
                      <a:pt x="371" y="24"/>
                    </a:lnTo>
                    <a:lnTo>
                      <a:pt x="36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2608">
                <a:extLst>
                  <a:ext uri="{FF2B5EF4-FFF2-40B4-BE49-F238E27FC236}">
                    <a16:creationId xmlns:a16="http://schemas.microsoft.com/office/drawing/2014/main" id="{7F7ACC19-95A5-1F57-6054-FB1F8F1D8E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799888" y="5230813"/>
                <a:ext cx="87313" cy="63500"/>
              </a:xfrm>
              <a:custGeom>
                <a:avLst/>
                <a:gdLst>
                  <a:gd name="T0" fmla="*/ 0 w 274"/>
                  <a:gd name="T1" fmla="*/ 202 h 202"/>
                  <a:gd name="T2" fmla="*/ 209 w 274"/>
                  <a:gd name="T3" fmla="*/ 202 h 202"/>
                  <a:gd name="T4" fmla="*/ 222 w 274"/>
                  <a:gd name="T5" fmla="*/ 180 h 202"/>
                  <a:gd name="T6" fmla="*/ 233 w 274"/>
                  <a:gd name="T7" fmla="*/ 156 h 202"/>
                  <a:gd name="T8" fmla="*/ 244 w 274"/>
                  <a:gd name="T9" fmla="*/ 131 h 202"/>
                  <a:gd name="T10" fmla="*/ 253 w 274"/>
                  <a:gd name="T11" fmla="*/ 106 h 202"/>
                  <a:gd name="T12" fmla="*/ 261 w 274"/>
                  <a:gd name="T13" fmla="*/ 81 h 202"/>
                  <a:gd name="T14" fmla="*/ 266 w 274"/>
                  <a:gd name="T15" fmla="*/ 54 h 202"/>
                  <a:gd name="T16" fmla="*/ 271 w 274"/>
                  <a:gd name="T17" fmla="*/ 28 h 202"/>
                  <a:gd name="T18" fmla="*/ 274 w 274"/>
                  <a:gd name="T19" fmla="*/ 0 h 202"/>
                  <a:gd name="T20" fmla="*/ 45 w 274"/>
                  <a:gd name="T21" fmla="*/ 0 h 202"/>
                  <a:gd name="T22" fmla="*/ 43 w 274"/>
                  <a:gd name="T23" fmla="*/ 26 h 202"/>
                  <a:gd name="T24" fmla="*/ 39 w 274"/>
                  <a:gd name="T25" fmla="*/ 50 h 202"/>
                  <a:gd name="T26" fmla="*/ 35 w 274"/>
                  <a:gd name="T27" fmla="*/ 75 h 202"/>
                  <a:gd name="T28" fmla="*/ 29 w 274"/>
                  <a:gd name="T29" fmla="*/ 101 h 202"/>
                  <a:gd name="T30" fmla="*/ 24 w 274"/>
                  <a:gd name="T31" fmla="*/ 126 h 202"/>
                  <a:gd name="T32" fmla="*/ 16 w 274"/>
                  <a:gd name="T33" fmla="*/ 151 h 202"/>
                  <a:gd name="T34" fmla="*/ 9 w 274"/>
                  <a:gd name="T35" fmla="*/ 177 h 202"/>
                  <a:gd name="T36" fmla="*/ 0 w 274"/>
                  <a:gd name="T37" fmla="*/ 202 h 202"/>
                  <a:gd name="T38" fmla="*/ 0 w 274"/>
                  <a:gd name="T39" fmla="*/ 202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74" h="202">
                    <a:moveTo>
                      <a:pt x="0" y="202"/>
                    </a:moveTo>
                    <a:lnTo>
                      <a:pt x="209" y="202"/>
                    </a:lnTo>
                    <a:lnTo>
                      <a:pt x="222" y="180"/>
                    </a:lnTo>
                    <a:lnTo>
                      <a:pt x="233" y="156"/>
                    </a:lnTo>
                    <a:lnTo>
                      <a:pt x="244" y="131"/>
                    </a:lnTo>
                    <a:lnTo>
                      <a:pt x="253" y="106"/>
                    </a:lnTo>
                    <a:lnTo>
                      <a:pt x="261" y="81"/>
                    </a:lnTo>
                    <a:lnTo>
                      <a:pt x="266" y="54"/>
                    </a:lnTo>
                    <a:lnTo>
                      <a:pt x="271" y="28"/>
                    </a:lnTo>
                    <a:lnTo>
                      <a:pt x="274" y="0"/>
                    </a:lnTo>
                    <a:lnTo>
                      <a:pt x="45" y="0"/>
                    </a:lnTo>
                    <a:lnTo>
                      <a:pt x="43" y="26"/>
                    </a:lnTo>
                    <a:lnTo>
                      <a:pt x="39" y="50"/>
                    </a:lnTo>
                    <a:lnTo>
                      <a:pt x="35" y="75"/>
                    </a:lnTo>
                    <a:lnTo>
                      <a:pt x="29" y="101"/>
                    </a:lnTo>
                    <a:lnTo>
                      <a:pt x="24" y="126"/>
                    </a:lnTo>
                    <a:lnTo>
                      <a:pt x="16" y="151"/>
                    </a:lnTo>
                    <a:lnTo>
                      <a:pt x="9" y="177"/>
                    </a:lnTo>
                    <a:lnTo>
                      <a:pt x="0" y="202"/>
                    </a:lnTo>
                    <a:lnTo>
                      <a:pt x="0" y="20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2609">
                <a:extLst>
                  <a:ext uri="{FF2B5EF4-FFF2-40B4-BE49-F238E27FC236}">
                    <a16:creationId xmlns:a16="http://schemas.microsoft.com/office/drawing/2014/main" id="{D5D2D259-3CDE-4E0C-303A-32018E24B2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703050" y="5303838"/>
                <a:ext cx="82550" cy="60325"/>
              </a:xfrm>
              <a:custGeom>
                <a:avLst/>
                <a:gdLst>
                  <a:gd name="T0" fmla="*/ 0 w 262"/>
                  <a:gd name="T1" fmla="*/ 0 h 186"/>
                  <a:gd name="T2" fmla="*/ 10 w 262"/>
                  <a:gd name="T3" fmla="*/ 23 h 186"/>
                  <a:gd name="T4" fmla="*/ 21 w 262"/>
                  <a:gd name="T5" fmla="*/ 46 h 186"/>
                  <a:gd name="T6" fmla="*/ 33 w 262"/>
                  <a:gd name="T7" fmla="*/ 69 h 186"/>
                  <a:gd name="T8" fmla="*/ 46 w 262"/>
                  <a:gd name="T9" fmla="*/ 92 h 186"/>
                  <a:gd name="T10" fmla="*/ 60 w 262"/>
                  <a:gd name="T11" fmla="*/ 115 h 186"/>
                  <a:gd name="T12" fmla="*/ 75 w 262"/>
                  <a:gd name="T13" fmla="*/ 140 h 186"/>
                  <a:gd name="T14" fmla="*/ 90 w 262"/>
                  <a:gd name="T15" fmla="*/ 163 h 186"/>
                  <a:gd name="T16" fmla="*/ 106 w 262"/>
                  <a:gd name="T17" fmla="*/ 186 h 186"/>
                  <a:gd name="T18" fmla="*/ 117 w 262"/>
                  <a:gd name="T19" fmla="*/ 186 h 186"/>
                  <a:gd name="T20" fmla="*/ 130 w 262"/>
                  <a:gd name="T21" fmla="*/ 186 h 186"/>
                  <a:gd name="T22" fmla="*/ 143 w 262"/>
                  <a:gd name="T23" fmla="*/ 186 h 186"/>
                  <a:gd name="T24" fmla="*/ 155 w 262"/>
                  <a:gd name="T25" fmla="*/ 186 h 186"/>
                  <a:gd name="T26" fmla="*/ 171 w 262"/>
                  <a:gd name="T27" fmla="*/ 163 h 186"/>
                  <a:gd name="T28" fmla="*/ 187 w 262"/>
                  <a:gd name="T29" fmla="*/ 138 h 186"/>
                  <a:gd name="T30" fmla="*/ 201 w 262"/>
                  <a:gd name="T31" fmla="*/ 115 h 186"/>
                  <a:gd name="T32" fmla="*/ 215 w 262"/>
                  <a:gd name="T33" fmla="*/ 92 h 186"/>
                  <a:gd name="T34" fmla="*/ 229 w 262"/>
                  <a:gd name="T35" fmla="*/ 69 h 186"/>
                  <a:gd name="T36" fmla="*/ 241 w 262"/>
                  <a:gd name="T37" fmla="*/ 46 h 186"/>
                  <a:gd name="T38" fmla="*/ 252 w 262"/>
                  <a:gd name="T39" fmla="*/ 23 h 186"/>
                  <a:gd name="T40" fmla="*/ 262 w 262"/>
                  <a:gd name="T41" fmla="*/ 0 h 186"/>
                  <a:gd name="T42" fmla="*/ 0 w 262"/>
                  <a:gd name="T43" fmla="*/ 0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62" h="186">
                    <a:moveTo>
                      <a:pt x="0" y="0"/>
                    </a:moveTo>
                    <a:lnTo>
                      <a:pt x="10" y="23"/>
                    </a:lnTo>
                    <a:lnTo>
                      <a:pt x="21" y="46"/>
                    </a:lnTo>
                    <a:lnTo>
                      <a:pt x="33" y="69"/>
                    </a:lnTo>
                    <a:lnTo>
                      <a:pt x="46" y="92"/>
                    </a:lnTo>
                    <a:lnTo>
                      <a:pt x="60" y="115"/>
                    </a:lnTo>
                    <a:lnTo>
                      <a:pt x="75" y="140"/>
                    </a:lnTo>
                    <a:lnTo>
                      <a:pt x="90" y="163"/>
                    </a:lnTo>
                    <a:lnTo>
                      <a:pt x="106" y="186"/>
                    </a:lnTo>
                    <a:lnTo>
                      <a:pt x="117" y="186"/>
                    </a:lnTo>
                    <a:lnTo>
                      <a:pt x="130" y="186"/>
                    </a:lnTo>
                    <a:lnTo>
                      <a:pt x="143" y="186"/>
                    </a:lnTo>
                    <a:lnTo>
                      <a:pt x="155" y="186"/>
                    </a:lnTo>
                    <a:lnTo>
                      <a:pt x="171" y="163"/>
                    </a:lnTo>
                    <a:lnTo>
                      <a:pt x="187" y="138"/>
                    </a:lnTo>
                    <a:lnTo>
                      <a:pt x="201" y="115"/>
                    </a:lnTo>
                    <a:lnTo>
                      <a:pt x="215" y="92"/>
                    </a:lnTo>
                    <a:lnTo>
                      <a:pt x="229" y="69"/>
                    </a:lnTo>
                    <a:lnTo>
                      <a:pt x="241" y="46"/>
                    </a:lnTo>
                    <a:lnTo>
                      <a:pt x="252" y="23"/>
                    </a:lnTo>
                    <a:lnTo>
                      <a:pt x="26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2610">
                <a:extLst>
                  <a:ext uri="{FF2B5EF4-FFF2-40B4-BE49-F238E27FC236}">
                    <a16:creationId xmlns:a16="http://schemas.microsoft.com/office/drawing/2014/main" id="{7A352C94-DE3A-20A0-1537-E8EF862658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93525" y="5076825"/>
                <a:ext cx="101600" cy="69850"/>
              </a:xfrm>
              <a:custGeom>
                <a:avLst/>
                <a:gdLst>
                  <a:gd name="T0" fmla="*/ 317 w 317"/>
                  <a:gd name="T1" fmla="*/ 220 h 220"/>
                  <a:gd name="T2" fmla="*/ 306 w 317"/>
                  <a:gd name="T3" fmla="*/ 192 h 220"/>
                  <a:gd name="T4" fmla="*/ 294 w 317"/>
                  <a:gd name="T5" fmla="*/ 163 h 220"/>
                  <a:gd name="T6" fmla="*/ 280 w 317"/>
                  <a:gd name="T7" fmla="*/ 136 h 220"/>
                  <a:gd name="T8" fmla="*/ 264 w 317"/>
                  <a:gd name="T9" fmla="*/ 108 h 220"/>
                  <a:gd name="T10" fmla="*/ 247 w 317"/>
                  <a:gd name="T11" fmla="*/ 81 h 220"/>
                  <a:gd name="T12" fmla="*/ 228 w 317"/>
                  <a:gd name="T13" fmla="*/ 54 h 220"/>
                  <a:gd name="T14" fmla="*/ 208 w 317"/>
                  <a:gd name="T15" fmla="*/ 28 h 220"/>
                  <a:gd name="T16" fmla="*/ 187 w 317"/>
                  <a:gd name="T17" fmla="*/ 1 h 220"/>
                  <a:gd name="T18" fmla="*/ 173 w 317"/>
                  <a:gd name="T19" fmla="*/ 0 h 220"/>
                  <a:gd name="T20" fmla="*/ 159 w 317"/>
                  <a:gd name="T21" fmla="*/ 0 h 220"/>
                  <a:gd name="T22" fmla="*/ 149 w 317"/>
                  <a:gd name="T23" fmla="*/ 0 h 220"/>
                  <a:gd name="T24" fmla="*/ 139 w 317"/>
                  <a:gd name="T25" fmla="*/ 0 h 220"/>
                  <a:gd name="T26" fmla="*/ 134 w 317"/>
                  <a:gd name="T27" fmla="*/ 1 h 220"/>
                  <a:gd name="T28" fmla="*/ 130 w 317"/>
                  <a:gd name="T29" fmla="*/ 1 h 220"/>
                  <a:gd name="T30" fmla="*/ 109 w 317"/>
                  <a:gd name="T31" fmla="*/ 28 h 220"/>
                  <a:gd name="T32" fmla="*/ 89 w 317"/>
                  <a:gd name="T33" fmla="*/ 54 h 220"/>
                  <a:gd name="T34" fmla="*/ 71 w 317"/>
                  <a:gd name="T35" fmla="*/ 81 h 220"/>
                  <a:gd name="T36" fmla="*/ 53 w 317"/>
                  <a:gd name="T37" fmla="*/ 108 h 220"/>
                  <a:gd name="T38" fmla="*/ 38 w 317"/>
                  <a:gd name="T39" fmla="*/ 136 h 220"/>
                  <a:gd name="T40" fmla="*/ 23 w 317"/>
                  <a:gd name="T41" fmla="*/ 163 h 220"/>
                  <a:gd name="T42" fmla="*/ 11 w 317"/>
                  <a:gd name="T43" fmla="*/ 192 h 220"/>
                  <a:gd name="T44" fmla="*/ 0 w 317"/>
                  <a:gd name="T45" fmla="*/ 220 h 220"/>
                  <a:gd name="T46" fmla="*/ 317 w 317"/>
                  <a:gd name="T47" fmla="*/ 220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17" h="220">
                    <a:moveTo>
                      <a:pt x="317" y="220"/>
                    </a:moveTo>
                    <a:lnTo>
                      <a:pt x="306" y="192"/>
                    </a:lnTo>
                    <a:lnTo>
                      <a:pt x="294" y="163"/>
                    </a:lnTo>
                    <a:lnTo>
                      <a:pt x="280" y="136"/>
                    </a:lnTo>
                    <a:lnTo>
                      <a:pt x="264" y="108"/>
                    </a:lnTo>
                    <a:lnTo>
                      <a:pt x="247" y="81"/>
                    </a:lnTo>
                    <a:lnTo>
                      <a:pt x="228" y="54"/>
                    </a:lnTo>
                    <a:lnTo>
                      <a:pt x="208" y="28"/>
                    </a:lnTo>
                    <a:lnTo>
                      <a:pt x="187" y="1"/>
                    </a:lnTo>
                    <a:lnTo>
                      <a:pt x="173" y="0"/>
                    </a:lnTo>
                    <a:lnTo>
                      <a:pt x="159" y="0"/>
                    </a:lnTo>
                    <a:lnTo>
                      <a:pt x="149" y="0"/>
                    </a:lnTo>
                    <a:lnTo>
                      <a:pt x="139" y="0"/>
                    </a:lnTo>
                    <a:lnTo>
                      <a:pt x="134" y="1"/>
                    </a:lnTo>
                    <a:lnTo>
                      <a:pt x="130" y="1"/>
                    </a:lnTo>
                    <a:lnTo>
                      <a:pt x="109" y="28"/>
                    </a:lnTo>
                    <a:lnTo>
                      <a:pt x="89" y="54"/>
                    </a:lnTo>
                    <a:lnTo>
                      <a:pt x="71" y="81"/>
                    </a:lnTo>
                    <a:lnTo>
                      <a:pt x="53" y="108"/>
                    </a:lnTo>
                    <a:lnTo>
                      <a:pt x="38" y="136"/>
                    </a:lnTo>
                    <a:lnTo>
                      <a:pt x="23" y="163"/>
                    </a:lnTo>
                    <a:lnTo>
                      <a:pt x="11" y="192"/>
                    </a:lnTo>
                    <a:lnTo>
                      <a:pt x="0" y="220"/>
                    </a:lnTo>
                    <a:lnTo>
                      <a:pt x="317" y="2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2611">
                <a:extLst>
                  <a:ext uri="{FF2B5EF4-FFF2-40B4-BE49-F238E27FC236}">
                    <a16:creationId xmlns:a16="http://schemas.microsoft.com/office/drawing/2014/main" id="{C616EAC8-76D8-4A48-5EE4-0AE52EBF5C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766550" y="5080000"/>
                <a:ext cx="100013" cy="66675"/>
              </a:xfrm>
              <a:custGeom>
                <a:avLst/>
                <a:gdLst>
                  <a:gd name="T0" fmla="*/ 316 w 316"/>
                  <a:gd name="T1" fmla="*/ 214 h 214"/>
                  <a:gd name="T2" fmla="*/ 303 w 316"/>
                  <a:gd name="T3" fmla="*/ 193 h 214"/>
                  <a:gd name="T4" fmla="*/ 289 w 316"/>
                  <a:gd name="T5" fmla="*/ 174 h 214"/>
                  <a:gd name="T6" fmla="*/ 273 w 316"/>
                  <a:gd name="T7" fmla="*/ 155 h 214"/>
                  <a:gd name="T8" fmla="*/ 257 w 316"/>
                  <a:gd name="T9" fmla="*/ 136 h 214"/>
                  <a:gd name="T10" fmla="*/ 240 w 316"/>
                  <a:gd name="T11" fmla="*/ 119 h 214"/>
                  <a:gd name="T12" fmla="*/ 222 w 316"/>
                  <a:gd name="T13" fmla="*/ 103 h 214"/>
                  <a:gd name="T14" fmla="*/ 203 w 316"/>
                  <a:gd name="T15" fmla="*/ 88 h 214"/>
                  <a:gd name="T16" fmla="*/ 183 w 316"/>
                  <a:gd name="T17" fmla="*/ 73 h 214"/>
                  <a:gd name="T18" fmla="*/ 162 w 316"/>
                  <a:gd name="T19" fmla="*/ 59 h 214"/>
                  <a:gd name="T20" fmla="*/ 141 w 316"/>
                  <a:gd name="T21" fmla="*/ 47 h 214"/>
                  <a:gd name="T22" fmla="*/ 119 w 316"/>
                  <a:gd name="T23" fmla="*/ 36 h 214"/>
                  <a:gd name="T24" fmla="*/ 96 w 316"/>
                  <a:gd name="T25" fmla="*/ 26 h 214"/>
                  <a:gd name="T26" fmla="*/ 73 w 316"/>
                  <a:gd name="T27" fmla="*/ 18 h 214"/>
                  <a:gd name="T28" fmla="*/ 49 w 316"/>
                  <a:gd name="T29" fmla="*/ 11 h 214"/>
                  <a:gd name="T30" fmla="*/ 24 w 316"/>
                  <a:gd name="T31" fmla="*/ 4 h 214"/>
                  <a:gd name="T32" fmla="*/ 0 w 316"/>
                  <a:gd name="T33" fmla="*/ 0 h 214"/>
                  <a:gd name="T34" fmla="*/ 19 w 316"/>
                  <a:gd name="T35" fmla="*/ 25 h 214"/>
                  <a:gd name="T36" fmla="*/ 38 w 316"/>
                  <a:gd name="T37" fmla="*/ 51 h 214"/>
                  <a:gd name="T38" fmla="*/ 54 w 316"/>
                  <a:gd name="T39" fmla="*/ 78 h 214"/>
                  <a:gd name="T40" fmla="*/ 70 w 316"/>
                  <a:gd name="T41" fmla="*/ 104 h 214"/>
                  <a:gd name="T42" fmla="*/ 84 w 316"/>
                  <a:gd name="T43" fmla="*/ 131 h 214"/>
                  <a:gd name="T44" fmla="*/ 96 w 316"/>
                  <a:gd name="T45" fmla="*/ 158 h 214"/>
                  <a:gd name="T46" fmla="*/ 108 w 316"/>
                  <a:gd name="T47" fmla="*/ 186 h 214"/>
                  <a:gd name="T48" fmla="*/ 118 w 316"/>
                  <a:gd name="T49" fmla="*/ 214 h 214"/>
                  <a:gd name="T50" fmla="*/ 316 w 316"/>
                  <a:gd name="T51" fmla="*/ 214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16" h="214">
                    <a:moveTo>
                      <a:pt x="316" y="214"/>
                    </a:moveTo>
                    <a:lnTo>
                      <a:pt x="303" y="193"/>
                    </a:lnTo>
                    <a:lnTo>
                      <a:pt x="289" y="174"/>
                    </a:lnTo>
                    <a:lnTo>
                      <a:pt x="273" y="155"/>
                    </a:lnTo>
                    <a:lnTo>
                      <a:pt x="257" y="136"/>
                    </a:lnTo>
                    <a:lnTo>
                      <a:pt x="240" y="119"/>
                    </a:lnTo>
                    <a:lnTo>
                      <a:pt x="222" y="103"/>
                    </a:lnTo>
                    <a:lnTo>
                      <a:pt x="203" y="88"/>
                    </a:lnTo>
                    <a:lnTo>
                      <a:pt x="183" y="73"/>
                    </a:lnTo>
                    <a:lnTo>
                      <a:pt x="162" y="59"/>
                    </a:lnTo>
                    <a:lnTo>
                      <a:pt x="141" y="47"/>
                    </a:lnTo>
                    <a:lnTo>
                      <a:pt x="119" y="36"/>
                    </a:lnTo>
                    <a:lnTo>
                      <a:pt x="96" y="26"/>
                    </a:lnTo>
                    <a:lnTo>
                      <a:pt x="73" y="18"/>
                    </a:lnTo>
                    <a:lnTo>
                      <a:pt x="49" y="11"/>
                    </a:lnTo>
                    <a:lnTo>
                      <a:pt x="24" y="4"/>
                    </a:lnTo>
                    <a:lnTo>
                      <a:pt x="0" y="0"/>
                    </a:lnTo>
                    <a:lnTo>
                      <a:pt x="19" y="25"/>
                    </a:lnTo>
                    <a:lnTo>
                      <a:pt x="38" y="51"/>
                    </a:lnTo>
                    <a:lnTo>
                      <a:pt x="54" y="78"/>
                    </a:lnTo>
                    <a:lnTo>
                      <a:pt x="70" y="104"/>
                    </a:lnTo>
                    <a:lnTo>
                      <a:pt x="84" y="131"/>
                    </a:lnTo>
                    <a:lnTo>
                      <a:pt x="96" y="158"/>
                    </a:lnTo>
                    <a:lnTo>
                      <a:pt x="108" y="186"/>
                    </a:lnTo>
                    <a:lnTo>
                      <a:pt x="118" y="214"/>
                    </a:lnTo>
                    <a:lnTo>
                      <a:pt x="316" y="2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2612">
                <a:extLst>
                  <a:ext uri="{FF2B5EF4-FFF2-40B4-BE49-F238E27FC236}">
                    <a16:creationId xmlns:a16="http://schemas.microsoft.com/office/drawing/2014/main" id="{E9435013-1F69-9C3E-6C8F-2CABDA54E4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807825" y="5156200"/>
                <a:ext cx="79375" cy="65088"/>
              </a:xfrm>
              <a:custGeom>
                <a:avLst/>
                <a:gdLst>
                  <a:gd name="T0" fmla="*/ 205 w 252"/>
                  <a:gd name="T1" fmla="*/ 0 h 203"/>
                  <a:gd name="T2" fmla="*/ 0 w 252"/>
                  <a:gd name="T3" fmla="*/ 0 h 203"/>
                  <a:gd name="T4" fmla="*/ 6 w 252"/>
                  <a:gd name="T5" fmla="*/ 24 h 203"/>
                  <a:gd name="T6" fmla="*/ 12 w 252"/>
                  <a:gd name="T7" fmla="*/ 50 h 203"/>
                  <a:gd name="T8" fmla="*/ 16 w 252"/>
                  <a:gd name="T9" fmla="*/ 75 h 203"/>
                  <a:gd name="T10" fmla="*/ 20 w 252"/>
                  <a:gd name="T11" fmla="*/ 100 h 203"/>
                  <a:gd name="T12" fmla="*/ 23 w 252"/>
                  <a:gd name="T13" fmla="*/ 126 h 203"/>
                  <a:gd name="T14" fmla="*/ 24 w 252"/>
                  <a:gd name="T15" fmla="*/ 151 h 203"/>
                  <a:gd name="T16" fmla="*/ 24 w 252"/>
                  <a:gd name="T17" fmla="*/ 176 h 203"/>
                  <a:gd name="T18" fmla="*/ 24 w 252"/>
                  <a:gd name="T19" fmla="*/ 203 h 203"/>
                  <a:gd name="T20" fmla="*/ 252 w 252"/>
                  <a:gd name="T21" fmla="*/ 203 h 203"/>
                  <a:gd name="T22" fmla="*/ 252 w 252"/>
                  <a:gd name="T23" fmla="*/ 200 h 203"/>
                  <a:gd name="T24" fmla="*/ 252 w 252"/>
                  <a:gd name="T25" fmla="*/ 199 h 203"/>
                  <a:gd name="T26" fmla="*/ 251 w 252"/>
                  <a:gd name="T27" fmla="*/ 173 h 203"/>
                  <a:gd name="T28" fmla="*/ 249 w 252"/>
                  <a:gd name="T29" fmla="*/ 147 h 203"/>
                  <a:gd name="T30" fmla="*/ 245 w 252"/>
                  <a:gd name="T31" fmla="*/ 120 h 203"/>
                  <a:gd name="T32" fmla="*/ 240 w 252"/>
                  <a:gd name="T33" fmla="*/ 95 h 203"/>
                  <a:gd name="T34" fmla="*/ 233 w 252"/>
                  <a:gd name="T35" fmla="*/ 71 h 203"/>
                  <a:gd name="T36" fmla="*/ 226 w 252"/>
                  <a:gd name="T37" fmla="*/ 46 h 203"/>
                  <a:gd name="T38" fmla="*/ 216 w 252"/>
                  <a:gd name="T39" fmla="*/ 23 h 203"/>
                  <a:gd name="T40" fmla="*/ 205 w 252"/>
                  <a:gd name="T41" fmla="*/ 0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2" h="203">
                    <a:moveTo>
                      <a:pt x="205" y="0"/>
                    </a:moveTo>
                    <a:lnTo>
                      <a:pt x="0" y="0"/>
                    </a:lnTo>
                    <a:lnTo>
                      <a:pt x="6" y="24"/>
                    </a:lnTo>
                    <a:lnTo>
                      <a:pt x="12" y="50"/>
                    </a:lnTo>
                    <a:lnTo>
                      <a:pt x="16" y="75"/>
                    </a:lnTo>
                    <a:lnTo>
                      <a:pt x="20" y="100"/>
                    </a:lnTo>
                    <a:lnTo>
                      <a:pt x="23" y="126"/>
                    </a:lnTo>
                    <a:lnTo>
                      <a:pt x="24" y="151"/>
                    </a:lnTo>
                    <a:lnTo>
                      <a:pt x="24" y="176"/>
                    </a:lnTo>
                    <a:lnTo>
                      <a:pt x="24" y="203"/>
                    </a:lnTo>
                    <a:lnTo>
                      <a:pt x="252" y="203"/>
                    </a:lnTo>
                    <a:lnTo>
                      <a:pt x="252" y="200"/>
                    </a:lnTo>
                    <a:lnTo>
                      <a:pt x="252" y="199"/>
                    </a:lnTo>
                    <a:lnTo>
                      <a:pt x="251" y="173"/>
                    </a:lnTo>
                    <a:lnTo>
                      <a:pt x="249" y="147"/>
                    </a:lnTo>
                    <a:lnTo>
                      <a:pt x="245" y="120"/>
                    </a:lnTo>
                    <a:lnTo>
                      <a:pt x="240" y="95"/>
                    </a:lnTo>
                    <a:lnTo>
                      <a:pt x="233" y="71"/>
                    </a:lnTo>
                    <a:lnTo>
                      <a:pt x="226" y="46"/>
                    </a:lnTo>
                    <a:lnTo>
                      <a:pt x="216" y="23"/>
                    </a:lnTo>
                    <a:lnTo>
                      <a:pt x="20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613">
                <a:extLst>
                  <a:ext uri="{FF2B5EF4-FFF2-40B4-BE49-F238E27FC236}">
                    <a16:creationId xmlns:a16="http://schemas.microsoft.com/office/drawing/2014/main" id="{F67597C7-22C0-65C1-7041-64D30ABF26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764963" y="5303838"/>
                <a:ext cx="95250" cy="58738"/>
              </a:xfrm>
              <a:custGeom>
                <a:avLst/>
                <a:gdLst>
                  <a:gd name="T0" fmla="*/ 0 w 300"/>
                  <a:gd name="T1" fmla="*/ 181 h 181"/>
                  <a:gd name="T2" fmla="*/ 23 w 300"/>
                  <a:gd name="T3" fmla="*/ 177 h 181"/>
                  <a:gd name="T4" fmla="*/ 45 w 300"/>
                  <a:gd name="T5" fmla="*/ 173 h 181"/>
                  <a:gd name="T6" fmla="*/ 67 w 300"/>
                  <a:gd name="T7" fmla="*/ 166 h 181"/>
                  <a:gd name="T8" fmla="*/ 89 w 300"/>
                  <a:gd name="T9" fmla="*/ 159 h 181"/>
                  <a:gd name="T10" fmla="*/ 110 w 300"/>
                  <a:gd name="T11" fmla="*/ 151 h 181"/>
                  <a:gd name="T12" fmla="*/ 131 w 300"/>
                  <a:gd name="T13" fmla="*/ 142 h 181"/>
                  <a:gd name="T14" fmla="*/ 150 w 300"/>
                  <a:gd name="T15" fmla="*/ 131 h 181"/>
                  <a:gd name="T16" fmla="*/ 169 w 300"/>
                  <a:gd name="T17" fmla="*/ 120 h 181"/>
                  <a:gd name="T18" fmla="*/ 188 w 300"/>
                  <a:gd name="T19" fmla="*/ 108 h 181"/>
                  <a:gd name="T20" fmla="*/ 207 w 300"/>
                  <a:gd name="T21" fmla="*/ 94 h 181"/>
                  <a:gd name="T22" fmla="*/ 224 w 300"/>
                  <a:gd name="T23" fmla="*/ 81 h 181"/>
                  <a:gd name="T24" fmla="*/ 241 w 300"/>
                  <a:gd name="T25" fmla="*/ 66 h 181"/>
                  <a:gd name="T26" fmla="*/ 256 w 300"/>
                  <a:gd name="T27" fmla="*/ 50 h 181"/>
                  <a:gd name="T28" fmla="*/ 271 w 300"/>
                  <a:gd name="T29" fmla="*/ 34 h 181"/>
                  <a:gd name="T30" fmla="*/ 286 w 300"/>
                  <a:gd name="T31" fmla="*/ 17 h 181"/>
                  <a:gd name="T32" fmla="*/ 300 w 300"/>
                  <a:gd name="T33" fmla="*/ 0 h 181"/>
                  <a:gd name="T34" fmla="*/ 99 w 300"/>
                  <a:gd name="T35" fmla="*/ 0 h 181"/>
                  <a:gd name="T36" fmla="*/ 89 w 300"/>
                  <a:gd name="T37" fmla="*/ 23 h 181"/>
                  <a:gd name="T38" fmla="*/ 79 w 300"/>
                  <a:gd name="T39" fmla="*/ 45 h 181"/>
                  <a:gd name="T40" fmla="*/ 68 w 300"/>
                  <a:gd name="T41" fmla="*/ 68 h 181"/>
                  <a:gd name="T42" fmla="*/ 56 w 300"/>
                  <a:gd name="T43" fmla="*/ 91 h 181"/>
                  <a:gd name="T44" fmla="*/ 42 w 300"/>
                  <a:gd name="T45" fmla="*/ 113 h 181"/>
                  <a:gd name="T46" fmla="*/ 29 w 300"/>
                  <a:gd name="T47" fmla="*/ 136 h 181"/>
                  <a:gd name="T48" fmla="*/ 15 w 300"/>
                  <a:gd name="T49" fmla="*/ 159 h 181"/>
                  <a:gd name="T50" fmla="*/ 0 w 300"/>
                  <a:gd name="T51" fmla="*/ 181 h 181"/>
                  <a:gd name="T52" fmla="*/ 0 w 300"/>
                  <a:gd name="T53" fmla="*/ 181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00" h="181">
                    <a:moveTo>
                      <a:pt x="0" y="181"/>
                    </a:moveTo>
                    <a:lnTo>
                      <a:pt x="23" y="177"/>
                    </a:lnTo>
                    <a:lnTo>
                      <a:pt x="45" y="173"/>
                    </a:lnTo>
                    <a:lnTo>
                      <a:pt x="67" y="166"/>
                    </a:lnTo>
                    <a:lnTo>
                      <a:pt x="89" y="159"/>
                    </a:lnTo>
                    <a:lnTo>
                      <a:pt x="110" y="151"/>
                    </a:lnTo>
                    <a:lnTo>
                      <a:pt x="131" y="142"/>
                    </a:lnTo>
                    <a:lnTo>
                      <a:pt x="150" y="131"/>
                    </a:lnTo>
                    <a:lnTo>
                      <a:pt x="169" y="120"/>
                    </a:lnTo>
                    <a:lnTo>
                      <a:pt x="188" y="108"/>
                    </a:lnTo>
                    <a:lnTo>
                      <a:pt x="207" y="94"/>
                    </a:lnTo>
                    <a:lnTo>
                      <a:pt x="224" y="81"/>
                    </a:lnTo>
                    <a:lnTo>
                      <a:pt x="241" y="66"/>
                    </a:lnTo>
                    <a:lnTo>
                      <a:pt x="256" y="50"/>
                    </a:lnTo>
                    <a:lnTo>
                      <a:pt x="271" y="34"/>
                    </a:lnTo>
                    <a:lnTo>
                      <a:pt x="286" y="17"/>
                    </a:lnTo>
                    <a:lnTo>
                      <a:pt x="300" y="0"/>
                    </a:lnTo>
                    <a:lnTo>
                      <a:pt x="99" y="0"/>
                    </a:lnTo>
                    <a:lnTo>
                      <a:pt x="89" y="23"/>
                    </a:lnTo>
                    <a:lnTo>
                      <a:pt x="79" y="45"/>
                    </a:lnTo>
                    <a:lnTo>
                      <a:pt x="68" y="68"/>
                    </a:lnTo>
                    <a:lnTo>
                      <a:pt x="56" y="91"/>
                    </a:lnTo>
                    <a:lnTo>
                      <a:pt x="42" y="113"/>
                    </a:lnTo>
                    <a:lnTo>
                      <a:pt x="29" y="136"/>
                    </a:lnTo>
                    <a:lnTo>
                      <a:pt x="15" y="159"/>
                    </a:lnTo>
                    <a:lnTo>
                      <a:pt x="0" y="181"/>
                    </a:lnTo>
                    <a:lnTo>
                      <a:pt x="0" y="18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614">
                <a:extLst>
                  <a:ext uri="{FF2B5EF4-FFF2-40B4-BE49-F238E27FC236}">
                    <a16:creationId xmlns:a16="http://schemas.microsoft.com/office/drawing/2014/main" id="{E51E70EF-A38C-8FE7-8881-D8B05BC1BD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28438" y="5303838"/>
                <a:ext cx="95250" cy="58738"/>
              </a:xfrm>
              <a:custGeom>
                <a:avLst/>
                <a:gdLst>
                  <a:gd name="T0" fmla="*/ 0 w 299"/>
                  <a:gd name="T1" fmla="*/ 0 h 181"/>
                  <a:gd name="T2" fmla="*/ 14 w 299"/>
                  <a:gd name="T3" fmla="*/ 17 h 181"/>
                  <a:gd name="T4" fmla="*/ 28 w 299"/>
                  <a:gd name="T5" fmla="*/ 34 h 181"/>
                  <a:gd name="T6" fmla="*/ 43 w 299"/>
                  <a:gd name="T7" fmla="*/ 50 h 181"/>
                  <a:gd name="T8" fmla="*/ 59 w 299"/>
                  <a:gd name="T9" fmla="*/ 66 h 181"/>
                  <a:gd name="T10" fmla="*/ 76 w 299"/>
                  <a:gd name="T11" fmla="*/ 81 h 181"/>
                  <a:gd name="T12" fmla="*/ 93 w 299"/>
                  <a:gd name="T13" fmla="*/ 95 h 181"/>
                  <a:gd name="T14" fmla="*/ 112 w 299"/>
                  <a:gd name="T15" fmla="*/ 108 h 181"/>
                  <a:gd name="T16" fmla="*/ 130 w 299"/>
                  <a:gd name="T17" fmla="*/ 121 h 181"/>
                  <a:gd name="T18" fmla="*/ 149 w 299"/>
                  <a:gd name="T19" fmla="*/ 132 h 181"/>
                  <a:gd name="T20" fmla="*/ 169 w 299"/>
                  <a:gd name="T21" fmla="*/ 142 h 181"/>
                  <a:gd name="T22" fmla="*/ 190 w 299"/>
                  <a:gd name="T23" fmla="*/ 152 h 181"/>
                  <a:gd name="T24" fmla="*/ 211 w 299"/>
                  <a:gd name="T25" fmla="*/ 159 h 181"/>
                  <a:gd name="T26" fmla="*/ 232 w 299"/>
                  <a:gd name="T27" fmla="*/ 167 h 181"/>
                  <a:gd name="T28" fmla="*/ 254 w 299"/>
                  <a:gd name="T29" fmla="*/ 173 h 181"/>
                  <a:gd name="T30" fmla="*/ 276 w 299"/>
                  <a:gd name="T31" fmla="*/ 178 h 181"/>
                  <a:gd name="T32" fmla="*/ 299 w 299"/>
                  <a:gd name="T33" fmla="*/ 181 h 181"/>
                  <a:gd name="T34" fmla="*/ 283 w 299"/>
                  <a:gd name="T35" fmla="*/ 159 h 181"/>
                  <a:gd name="T36" fmla="*/ 269 w 299"/>
                  <a:gd name="T37" fmla="*/ 136 h 181"/>
                  <a:gd name="T38" fmla="*/ 256 w 299"/>
                  <a:gd name="T39" fmla="*/ 113 h 181"/>
                  <a:gd name="T40" fmla="*/ 243 w 299"/>
                  <a:gd name="T41" fmla="*/ 91 h 181"/>
                  <a:gd name="T42" fmla="*/ 231 w 299"/>
                  <a:gd name="T43" fmla="*/ 68 h 181"/>
                  <a:gd name="T44" fmla="*/ 220 w 299"/>
                  <a:gd name="T45" fmla="*/ 45 h 181"/>
                  <a:gd name="T46" fmla="*/ 210 w 299"/>
                  <a:gd name="T47" fmla="*/ 23 h 181"/>
                  <a:gd name="T48" fmla="*/ 200 w 299"/>
                  <a:gd name="T49" fmla="*/ 0 h 181"/>
                  <a:gd name="T50" fmla="*/ 0 w 299"/>
                  <a:gd name="T51" fmla="*/ 0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99" h="181">
                    <a:moveTo>
                      <a:pt x="0" y="0"/>
                    </a:moveTo>
                    <a:lnTo>
                      <a:pt x="14" y="17"/>
                    </a:lnTo>
                    <a:lnTo>
                      <a:pt x="28" y="34"/>
                    </a:lnTo>
                    <a:lnTo>
                      <a:pt x="43" y="50"/>
                    </a:lnTo>
                    <a:lnTo>
                      <a:pt x="59" y="66"/>
                    </a:lnTo>
                    <a:lnTo>
                      <a:pt x="76" y="81"/>
                    </a:lnTo>
                    <a:lnTo>
                      <a:pt x="93" y="95"/>
                    </a:lnTo>
                    <a:lnTo>
                      <a:pt x="112" y="108"/>
                    </a:lnTo>
                    <a:lnTo>
                      <a:pt x="130" y="121"/>
                    </a:lnTo>
                    <a:lnTo>
                      <a:pt x="149" y="132"/>
                    </a:lnTo>
                    <a:lnTo>
                      <a:pt x="169" y="142"/>
                    </a:lnTo>
                    <a:lnTo>
                      <a:pt x="190" y="152"/>
                    </a:lnTo>
                    <a:lnTo>
                      <a:pt x="211" y="159"/>
                    </a:lnTo>
                    <a:lnTo>
                      <a:pt x="232" y="167"/>
                    </a:lnTo>
                    <a:lnTo>
                      <a:pt x="254" y="173"/>
                    </a:lnTo>
                    <a:lnTo>
                      <a:pt x="276" y="178"/>
                    </a:lnTo>
                    <a:lnTo>
                      <a:pt x="299" y="181"/>
                    </a:lnTo>
                    <a:lnTo>
                      <a:pt x="283" y="159"/>
                    </a:lnTo>
                    <a:lnTo>
                      <a:pt x="269" y="136"/>
                    </a:lnTo>
                    <a:lnTo>
                      <a:pt x="256" y="113"/>
                    </a:lnTo>
                    <a:lnTo>
                      <a:pt x="243" y="91"/>
                    </a:lnTo>
                    <a:lnTo>
                      <a:pt x="231" y="68"/>
                    </a:lnTo>
                    <a:lnTo>
                      <a:pt x="220" y="45"/>
                    </a:lnTo>
                    <a:lnTo>
                      <a:pt x="210" y="23"/>
                    </a:lnTo>
                    <a:lnTo>
                      <a:pt x="20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615">
                <a:extLst>
                  <a:ext uri="{FF2B5EF4-FFF2-40B4-BE49-F238E27FC236}">
                    <a16:creationId xmlns:a16="http://schemas.microsoft.com/office/drawing/2014/main" id="{82470CF7-691E-86E2-8178-1D9665CAEA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01450" y="5230813"/>
                <a:ext cx="87313" cy="63500"/>
              </a:xfrm>
              <a:custGeom>
                <a:avLst/>
                <a:gdLst>
                  <a:gd name="T0" fmla="*/ 229 w 275"/>
                  <a:gd name="T1" fmla="*/ 0 h 202"/>
                  <a:gd name="T2" fmla="*/ 0 w 275"/>
                  <a:gd name="T3" fmla="*/ 0 h 202"/>
                  <a:gd name="T4" fmla="*/ 4 w 275"/>
                  <a:gd name="T5" fmla="*/ 28 h 202"/>
                  <a:gd name="T6" fmla="*/ 9 w 275"/>
                  <a:gd name="T7" fmla="*/ 54 h 202"/>
                  <a:gd name="T8" fmla="*/ 15 w 275"/>
                  <a:gd name="T9" fmla="*/ 81 h 202"/>
                  <a:gd name="T10" fmla="*/ 22 w 275"/>
                  <a:gd name="T11" fmla="*/ 106 h 202"/>
                  <a:gd name="T12" fmla="*/ 32 w 275"/>
                  <a:gd name="T13" fmla="*/ 131 h 202"/>
                  <a:gd name="T14" fmla="*/ 42 w 275"/>
                  <a:gd name="T15" fmla="*/ 156 h 202"/>
                  <a:gd name="T16" fmla="*/ 54 w 275"/>
                  <a:gd name="T17" fmla="*/ 180 h 202"/>
                  <a:gd name="T18" fmla="*/ 68 w 275"/>
                  <a:gd name="T19" fmla="*/ 202 h 202"/>
                  <a:gd name="T20" fmla="*/ 275 w 275"/>
                  <a:gd name="T21" fmla="*/ 202 h 202"/>
                  <a:gd name="T22" fmla="*/ 266 w 275"/>
                  <a:gd name="T23" fmla="*/ 177 h 202"/>
                  <a:gd name="T24" fmla="*/ 258 w 275"/>
                  <a:gd name="T25" fmla="*/ 151 h 202"/>
                  <a:gd name="T26" fmla="*/ 250 w 275"/>
                  <a:gd name="T27" fmla="*/ 126 h 202"/>
                  <a:gd name="T28" fmla="*/ 245 w 275"/>
                  <a:gd name="T29" fmla="*/ 101 h 202"/>
                  <a:gd name="T30" fmla="*/ 239 w 275"/>
                  <a:gd name="T31" fmla="*/ 75 h 202"/>
                  <a:gd name="T32" fmla="*/ 235 w 275"/>
                  <a:gd name="T33" fmla="*/ 51 h 202"/>
                  <a:gd name="T34" fmla="*/ 232 w 275"/>
                  <a:gd name="T35" fmla="*/ 26 h 202"/>
                  <a:gd name="T36" fmla="*/ 229 w 275"/>
                  <a:gd name="T37" fmla="*/ 0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75" h="202">
                    <a:moveTo>
                      <a:pt x="229" y="0"/>
                    </a:moveTo>
                    <a:lnTo>
                      <a:pt x="0" y="0"/>
                    </a:lnTo>
                    <a:lnTo>
                      <a:pt x="4" y="28"/>
                    </a:lnTo>
                    <a:lnTo>
                      <a:pt x="9" y="54"/>
                    </a:lnTo>
                    <a:lnTo>
                      <a:pt x="15" y="81"/>
                    </a:lnTo>
                    <a:lnTo>
                      <a:pt x="22" y="106"/>
                    </a:lnTo>
                    <a:lnTo>
                      <a:pt x="32" y="131"/>
                    </a:lnTo>
                    <a:lnTo>
                      <a:pt x="42" y="156"/>
                    </a:lnTo>
                    <a:lnTo>
                      <a:pt x="54" y="180"/>
                    </a:lnTo>
                    <a:lnTo>
                      <a:pt x="68" y="202"/>
                    </a:lnTo>
                    <a:lnTo>
                      <a:pt x="275" y="202"/>
                    </a:lnTo>
                    <a:lnTo>
                      <a:pt x="266" y="177"/>
                    </a:lnTo>
                    <a:lnTo>
                      <a:pt x="258" y="151"/>
                    </a:lnTo>
                    <a:lnTo>
                      <a:pt x="250" y="126"/>
                    </a:lnTo>
                    <a:lnTo>
                      <a:pt x="245" y="101"/>
                    </a:lnTo>
                    <a:lnTo>
                      <a:pt x="239" y="75"/>
                    </a:lnTo>
                    <a:lnTo>
                      <a:pt x="235" y="51"/>
                    </a:lnTo>
                    <a:lnTo>
                      <a:pt x="232" y="26"/>
                    </a:lnTo>
                    <a:lnTo>
                      <a:pt x="22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616">
                <a:extLst>
                  <a:ext uri="{FF2B5EF4-FFF2-40B4-BE49-F238E27FC236}">
                    <a16:creationId xmlns:a16="http://schemas.microsoft.com/office/drawing/2014/main" id="{05A7C228-8903-39F5-6E5B-F88736989E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01450" y="5156200"/>
                <a:ext cx="79375" cy="65088"/>
              </a:xfrm>
              <a:custGeom>
                <a:avLst/>
                <a:gdLst>
                  <a:gd name="T0" fmla="*/ 252 w 252"/>
                  <a:gd name="T1" fmla="*/ 0 h 203"/>
                  <a:gd name="T2" fmla="*/ 42 w 252"/>
                  <a:gd name="T3" fmla="*/ 0 h 203"/>
                  <a:gd name="T4" fmla="*/ 33 w 252"/>
                  <a:gd name="T5" fmla="*/ 22 h 203"/>
                  <a:gd name="T6" fmla="*/ 25 w 252"/>
                  <a:gd name="T7" fmla="*/ 44 h 203"/>
                  <a:gd name="T8" fmla="*/ 17 w 252"/>
                  <a:gd name="T9" fmla="*/ 67 h 203"/>
                  <a:gd name="T10" fmla="*/ 11 w 252"/>
                  <a:gd name="T11" fmla="*/ 91 h 203"/>
                  <a:gd name="T12" fmla="*/ 6 w 252"/>
                  <a:gd name="T13" fmla="*/ 116 h 203"/>
                  <a:gd name="T14" fmla="*/ 3 w 252"/>
                  <a:gd name="T15" fmla="*/ 140 h 203"/>
                  <a:gd name="T16" fmla="*/ 0 w 252"/>
                  <a:gd name="T17" fmla="*/ 165 h 203"/>
                  <a:gd name="T18" fmla="*/ 0 w 252"/>
                  <a:gd name="T19" fmla="*/ 192 h 203"/>
                  <a:gd name="T20" fmla="*/ 0 w 252"/>
                  <a:gd name="T21" fmla="*/ 197 h 203"/>
                  <a:gd name="T22" fmla="*/ 0 w 252"/>
                  <a:gd name="T23" fmla="*/ 203 h 203"/>
                  <a:gd name="T24" fmla="*/ 228 w 252"/>
                  <a:gd name="T25" fmla="*/ 203 h 203"/>
                  <a:gd name="T26" fmla="*/ 228 w 252"/>
                  <a:gd name="T27" fmla="*/ 176 h 203"/>
                  <a:gd name="T28" fmla="*/ 228 w 252"/>
                  <a:gd name="T29" fmla="*/ 151 h 203"/>
                  <a:gd name="T30" fmla="*/ 229 w 252"/>
                  <a:gd name="T31" fmla="*/ 126 h 203"/>
                  <a:gd name="T32" fmla="*/ 233 w 252"/>
                  <a:gd name="T33" fmla="*/ 100 h 203"/>
                  <a:gd name="T34" fmla="*/ 236 w 252"/>
                  <a:gd name="T35" fmla="*/ 75 h 203"/>
                  <a:gd name="T36" fmla="*/ 240 w 252"/>
                  <a:gd name="T37" fmla="*/ 50 h 203"/>
                  <a:gd name="T38" fmla="*/ 246 w 252"/>
                  <a:gd name="T39" fmla="*/ 24 h 203"/>
                  <a:gd name="T40" fmla="*/ 252 w 252"/>
                  <a:gd name="T41" fmla="*/ 0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2" h="203">
                    <a:moveTo>
                      <a:pt x="252" y="0"/>
                    </a:moveTo>
                    <a:lnTo>
                      <a:pt x="42" y="0"/>
                    </a:lnTo>
                    <a:lnTo>
                      <a:pt x="33" y="22"/>
                    </a:lnTo>
                    <a:lnTo>
                      <a:pt x="25" y="44"/>
                    </a:lnTo>
                    <a:lnTo>
                      <a:pt x="17" y="67"/>
                    </a:lnTo>
                    <a:lnTo>
                      <a:pt x="11" y="91"/>
                    </a:lnTo>
                    <a:lnTo>
                      <a:pt x="6" y="116"/>
                    </a:lnTo>
                    <a:lnTo>
                      <a:pt x="3" y="140"/>
                    </a:lnTo>
                    <a:lnTo>
                      <a:pt x="0" y="165"/>
                    </a:lnTo>
                    <a:lnTo>
                      <a:pt x="0" y="192"/>
                    </a:lnTo>
                    <a:lnTo>
                      <a:pt x="0" y="197"/>
                    </a:lnTo>
                    <a:lnTo>
                      <a:pt x="0" y="203"/>
                    </a:lnTo>
                    <a:lnTo>
                      <a:pt x="228" y="203"/>
                    </a:lnTo>
                    <a:lnTo>
                      <a:pt x="228" y="176"/>
                    </a:lnTo>
                    <a:lnTo>
                      <a:pt x="228" y="151"/>
                    </a:lnTo>
                    <a:lnTo>
                      <a:pt x="229" y="126"/>
                    </a:lnTo>
                    <a:lnTo>
                      <a:pt x="233" y="100"/>
                    </a:lnTo>
                    <a:lnTo>
                      <a:pt x="236" y="75"/>
                    </a:lnTo>
                    <a:lnTo>
                      <a:pt x="240" y="50"/>
                    </a:lnTo>
                    <a:lnTo>
                      <a:pt x="246" y="24"/>
                    </a:lnTo>
                    <a:lnTo>
                      <a:pt x="25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617">
                <a:extLst>
                  <a:ext uri="{FF2B5EF4-FFF2-40B4-BE49-F238E27FC236}">
                    <a16:creationId xmlns:a16="http://schemas.microsoft.com/office/drawing/2014/main" id="{1C96A1B7-50F0-EB8E-0024-DEEB191C50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20500" y="5080000"/>
                <a:ext cx="101600" cy="66675"/>
              </a:xfrm>
              <a:custGeom>
                <a:avLst/>
                <a:gdLst>
                  <a:gd name="T0" fmla="*/ 321 w 321"/>
                  <a:gd name="T1" fmla="*/ 0 h 214"/>
                  <a:gd name="T2" fmla="*/ 295 w 321"/>
                  <a:gd name="T3" fmla="*/ 4 h 214"/>
                  <a:gd name="T4" fmla="*/ 269 w 321"/>
                  <a:gd name="T5" fmla="*/ 10 h 214"/>
                  <a:gd name="T6" fmla="*/ 245 w 321"/>
                  <a:gd name="T7" fmla="*/ 17 h 214"/>
                  <a:gd name="T8" fmla="*/ 221 w 321"/>
                  <a:gd name="T9" fmla="*/ 26 h 214"/>
                  <a:gd name="T10" fmla="*/ 198 w 321"/>
                  <a:gd name="T11" fmla="*/ 36 h 214"/>
                  <a:gd name="T12" fmla="*/ 175 w 321"/>
                  <a:gd name="T13" fmla="*/ 46 h 214"/>
                  <a:gd name="T14" fmla="*/ 153 w 321"/>
                  <a:gd name="T15" fmla="*/ 59 h 214"/>
                  <a:gd name="T16" fmla="*/ 132 w 321"/>
                  <a:gd name="T17" fmla="*/ 72 h 214"/>
                  <a:gd name="T18" fmla="*/ 112 w 321"/>
                  <a:gd name="T19" fmla="*/ 87 h 214"/>
                  <a:gd name="T20" fmla="*/ 93 w 321"/>
                  <a:gd name="T21" fmla="*/ 102 h 214"/>
                  <a:gd name="T22" fmla="*/ 75 w 321"/>
                  <a:gd name="T23" fmla="*/ 119 h 214"/>
                  <a:gd name="T24" fmla="*/ 58 w 321"/>
                  <a:gd name="T25" fmla="*/ 135 h 214"/>
                  <a:gd name="T26" fmla="*/ 42 w 321"/>
                  <a:gd name="T27" fmla="*/ 154 h 214"/>
                  <a:gd name="T28" fmla="*/ 26 w 321"/>
                  <a:gd name="T29" fmla="*/ 174 h 214"/>
                  <a:gd name="T30" fmla="*/ 12 w 321"/>
                  <a:gd name="T31" fmla="*/ 193 h 214"/>
                  <a:gd name="T32" fmla="*/ 0 w 321"/>
                  <a:gd name="T33" fmla="*/ 214 h 214"/>
                  <a:gd name="T34" fmla="*/ 202 w 321"/>
                  <a:gd name="T35" fmla="*/ 214 h 214"/>
                  <a:gd name="T36" fmla="*/ 213 w 321"/>
                  <a:gd name="T37" fmla="*/ 186 h 214"/>
                  <a:gd name="T38" fmla="*/ 224 w 321"/>
                  <a:gd name="T39" fmla="*/ 158 h 214"/>
                  <a:gd name="T40" fmla="*/ 238 w 321"/>
                  <a:gd name="T41" fmla="*/ 131 h 214"/>
                  <a:gd name="T42" fmla="*/ 251 w 321"/>
                  <a:gd name="T43" fmla="*/ 104 h 214"/>
                  <a:gd name="T44" fmla="*/ 266 w 321"/>
                  <a:gd name="T45" fmla="*/ 77 h 214"/>
                  <a:gd name="T46" fmla="*/ 284 w 321"/>
                  <a:gd name="T47" fmla="*/ 50 h 214"/>
                  <a:gd name="T48" fmla="*/ 301 w 321"/>
                  <a:gd name="T49" fmla="*/ 25 h 214"/>
                  <a:gd name="T50" fmla="*/ 321 w 321"/>
                  <a:gd name="T51" fmla="*/ 0 h 214"/>
                  <a:gd name="T52" fmla="*/ 321 w 321"/>
                  <a:gd name="T53" fmla="*/ 0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21" h="214">
                    <a:moveTo>
                      <a:pt x="321" y="0"/>
                    </a:moveTo>
                    <a:lnTo>
                      <a:pt x="295" y="4"/>
                    </a:lnTo>
                    <a:lnTo>
                      <a:pt x="269" y="10"/>
                    </a:lnTo>
                    <a:lnTo>
                      <a:pt x="245" y="17"/>
                    </a:lnTo>
                    <a:lnTo>
                      <a:pt x="221" y="26"/>
                    </a:lnTo>
                    <a:lnTo>
                      <a:pt x="198" y="36"/>
                    </a:lnTo>
                    <a:lnTo>
                      <a:pt x="175" y="46"/>
                    </a:lnTo>
                    <a:lnTo>
                      <a:pt x="153" y="59"/>
                    </a:lnTo>
                    <a:lnTo>
                      <a:pt x="132" y="72"/>
                    </a:lnTo>
                    <a:lnTo>
                      <a:pt x="112" y="87"/>
                    </a:lnTo>
                    <a:lnTo>
                      <a:pt x="93" y="102"/>
                    </a:lnTo>
                    <a:lnTo>
                      <a:pt x="75" y="119"/>
                    </a:lnTo>
                    <a:lnTo>
                      <a:pt x="58" y="135"/>
                    </a:lnTo>
                    <a:lnTo>
                      <a:pt x="42" y="154"/>
                    </a:lnTo>
                    <a:lnTo>
                      <a:pt x="26" y="174"/>
                    </a:lnTo>
                    <a:lnTo>
                      <a:pt x="12" y="193"/>
                    </a:lnTo>
                    <a:lnTo>
                      <a:pt x="0" y="214"/>
                    </a:lnTo>
                    <a:lnTo>
                      <a:pt x="202" y="214"/>
                    </a:lnTo>
                    <a:lnTo>
                      <a:pt x="213" y="186"/>
                    </a:lnTo>
                    <a:lnTo>
                      <a:pt x="224" y="158"/>
                    </a:lnTo>
                    <a:lnTo>
                      <a:pt x="238" y="131"/>
                    </a:lnTo>
                    <a:lnTo>
                      <a:pt x="251" y="104"/>
                    </a:lnTo>
                    <a:lnTo>
                      <a:pt x="266" y="77"/>
                    </a:lnTo>
                    <a:lnTo>
                      <a:pt x="284" y="50"/>
                    </a:lnTo>
                    <a:lnTo>
                      <a:pt x="301" y="25"/>
                    </a:lnTo>
                    <a:lnTo>
                      <a:pt x="321" y="0"/>
                    </a:lnTo>
                    <a:lnTo>
                      <a:pt x="32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61C8739-196F-FDEE-B9A2-097E22206467}"/>
              </a:ext>
            </a:extLst>
          </p:cNvPr>
          <p:cNvGrpSpPr/>
          <p:nvPr/>
        </p:nvGrpSpPr>
        <p:grpSpPr>
          <a:xfrm>
            <a:off x="6965969" y="4582503"/>
            <a:ext cx="1238907" cy="946455"/>
            <a:chOff x="7386223" y="4703866"/>
            <a:chExt cx="1238907" cy="946455"/>
          </a:xfrm>
        </p:grpSpPr>
        <p:sp>
          <p:nvSpPr>
            <p:cNvPr id="32" name="Text Placeholder 1">
              <a:extLst>
                <a:ext uri="{FF2B5EF4-FFF2-40B4-BE49-F238E27FC236}">
                  <a16:creationId xmlns:a16="http://schemas.microsoft.com/office/drawing/2014/main" id="{DC83F861-602B-9B34-0124-2E1B285A5F4F}"/>
                </a:ext>
              </a:extLst>
            </p:cNvPr>
            <p:cNvSpPr txBox="1">
              <a:spLocks/>
            </p:cNvSpPr>
            <p:nvPr/>
          </p:nvSpPr>
          <p:spPr>
            <a:xfrm>
              <a:off x="7386223" y="5280989"/>
              <a:ext cx="1238907" cy="369332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216000" indent="-216000" algn="l" defTabSz="914378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75000"/>
                <a:buFontTx/>
                <a:buBlip>
                  <a:blip r:embed="rId4"/>
                </a:buBlip>
                <a:defRPr lang="nn-NO" sz="2000" kern="1200" baseline="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2438" indent="-215900" algn="l" defTabSz="914378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75000"/>
                <a:buFontTx/>
                <a:buBlip>
                  <a:blip r:embed="rId5"/>
                </a:buBlip>
                <a:defRPr lang="nn-NO" sz="2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09613" indent="-225425" algn="l" defTabSz="914378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75000"/>
                <a:buFontTx/>
                <a:buBlip>
                  <a:blip r:embed="rId5"/>
                </a:buBlip>
                <a:defRPr lang="nn-NO" sz="2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2350" indent="-236538" algn="l" defTabSz="914378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75000"/>
                <a:buFontTx/>
                <a:buBlip>
                  <a:blip r:embed="rId5"/>
                </a:buBlip>
                <a:defRPr lang="nn-NO" sz="2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64000" indent="0" algn="l" defTabSz="914378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100000"/>
                <a:buFont typeface="Arial" panose="020B0604020202020204" pitchFamily="34" charset="0"/>
                <a:buNone/>
                <a:defRPr lang="nn-NO" sz="2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537" indent="-228594" algn="l" defTabSz="914378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726" indent="-228594" algn="l" defTabSz="914378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915" indent="-228594" algn="l" defTabSz="914378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8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0" indent="0" algn="ctr">
                <a:spcBef>
                  <a:spcPts val="0"/>
                </a:spcBef>
                <a:buNone/>
              </a:pPr>
              <a:r>
                <a:rPr lang="en-US" sz="1200" b="1">
                  <a:solidFill>
                    <a:schemeClr val="bg1"/>
                  </a:solidFill>
                  <a:effectLst>
                    <a:outerShdw blurRad="215900" sx="102000" sy="102000" algn="ctr" rotWithShape="0">
                      <a:prstClr val="black">
                        <a:alpha val="26000"/>
                      </a:prstClr>
                    </a:outerShdw>
                  </a:effectLst>
                  <a:latin typeface="Oscine" panose="020B0506040202020204" pitchFamily="34" charset="0"/>
                  <a:ea typeface="Open Sans" panose="020B0606030504020204" pitchFamily="34" charset="0"/>
                  <a:cs typeface="Oscine" panose="020B0506040202020204" pitchFamily="34" charset="0"/>
                </a:rPr>
                <a:t>Application knowledge</a:t>
              </a:r>
              <a:endParaRPr lang="en-DK" sz="1200" b="1">
                <a:solidFill>
                  <a:schemeClr val="bg1"/>
                </a:solidFill>
                <a:effectLst>
                  <a:outerShdw blurRad="215900" sx="102000" sy="102000" algn="ctr" rotWithShape="0">
                    <a:prstClr val="black">
                      <a:alpha val="26000"/>
                    </a:prstClr>
                  </a:outerShdw>
                </a:effectLst>
                <a:latin typeface="Oscine" panose="020B0506040202020204" pitchFamily="34" charset="0"/>
                <a:ea typeface="Open Sans" panose="020B0606030504020204" pitchFamily="34" charset="0"/>
                <a:cs typeface="Oscine" panose="020B0506040202020204" pitchFamily="34" charset="0"/>
              </a:endParaRP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A83D1BC6-60D9-CE18-D9A1-1D9C9759918F}"/>
                </a:ext>
              </a:extLst>
            </p:cNvPr>
            <p:cNvGrpSpPr/>
            <p:nvPr/>
          </p:nvGrpSpPr>
          <p:grpSpPr>
            <a:xfrm>
              <a:off x="7775402" y="4703866"/>
              <a:ext cx="460548" cy="460546"/>
              <a:chOff x="11045825" y="835025"/>
              <a:chExt cx="258763" cy="258763"/>
            </a:xfrm>
            <a:solidFill>
              <a:schemeClr val="bg1"/>
            </a:solidFill>
          </p:grpSpPr>
          <p:sp>
            <p:nvSpPr>
              <p:cNvPr id="34" name="Freeform 2131">
                <a:extLst>
                  <a:ext uri="{FF2B5EF4-FFF2-40B4-BE49-F238E27FC236}">
                    <a16:creationId xmlns:a16="http://schemas.microsoft.com/office/drawing/2014/main" id="{4D64CBBB-5016-D3A5-34F8-67F785D325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56950" y="1065213"/>
                <a:ext cx="38100" cy="9525"/>
              </a:xfrm>
              <a:custGeom>
                <a:avLst/>
                <a:gdLst>
                  <a:gd name="T0" fmla="*/ 105 w 120"/>
                  <a:gd name="T1" fmla="*/ 0 h 29"/>
                  <a:gd name="T2" fmla="*/ 14 w 120"/>
                  <a:gd name="T3" fmla="*/ 0 h 29"/>
                  <a:gd name="T4" fmla="*/ 8 w 120"/>
                  <a:gd name="T5" fmla="*/ 1 h 29"/>
                  <a:gd name="T6" fmla="*/ 3 w 120"/>
                  <a:gd name="T7" fmla="*/ 4 h 29"/>
                  <a:gd name="T8" fmla="*/ 1 w 120"/>
                  <a:gd name="T9" fmla="*/ 9 h 29"/>
                  <a:gd name="T10" fmla="*/ 0 w 120"/>
                  <a:gd name="T11" fmla="*/ 15 h 29"/>
                  <a:gd name="T12" fmla="*/ 1 w 120"/>
                  <a:gd name="T13" fmla="*/ 21 h 29"/>
                  <a:gd name="T14" fmla="*/ 3 w 120"/>
                  <a:gd name="T15" fmla="*/ 26 h 29"/>
                  <a:gd name="T16" fmla="*/ 8 w 120"/>
                  <a:gd name="T17" fmla="*/ 28 h 29"/>
                  <a:gd name="T18" fmla="*/ 14 w 120"/>
                  <a:gd name="T19" fmla="*/ 29 h 29"/>
                  <a:gd name="T20" fmla="*/ 105 w 120"/>
                  <a:gd name="T21" fmla="*/ 29 h 29"/>
                  <a:gd name="T22" fmla="*/ 111 w 120"/>
                  <a:gd name="T23" fmla="*/ 28 h 29"/>
                  <a:gd name="T24" fmla="*/ 116 w 120"/>
                  <a:gd name="T25" fmla="*/ 26 h 29"/>
                  <a:gd name="T26" fmla="*/ 118 w 120"/>
                  <a:gd name="T27" fmla="*/ 21 h 29"/>
                  <a:gd name="T28" fmla="*/ 120 w 120"/>
                  <a:gd name="T29" fmla="*/ 15 h 29"/>
                  <a:gd name="T30" fmla="*/ 118 w 120"/>
                  <a:gd name="T31" fmla="*/ 9 h 29"/>
                  <a:gd name="T32" fmla="*/ 116 w 120"/>
                  <a:gd name="T33" fmla="*/ 4 h 29"/>
                  <a:gd name="T34" fmla="*/ 111 w 120"/>
                  <a:gd name="T35" fmla="*/ 1 h 29"/>
                  <a:gd name="T36" fmla="*/ 105 w 120"/>
                  <a:gd name="T37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20" h="29">
                    <a:moveTo>
                      <a:pt x="105" y="0"/>
                    </a:moveTo>
                    <a:lnTo>
                      <a:pt x="14" y="0"/>
                    </a:lnTo>
                    <a:lnTo>
                      <a:pt x="8" y="1"/>
                    </a:lnTo>
                    <a:lnTo>
                      <a:pt x="3" y="4"/>
                    </a:lnTo>
                    <a:lnTo>
                      <a:pt x="1" y="9"/>
                    </a:lnTo>
                    <a:lnTo>
                      <a:pt x="0" y="15"/>
                    </a:lnTo>
                    <a:lnTo>
                      <a:pt x="1" y="21"/>
                    </a:lnTo>
                    <a:lnTo>
                      <a:pt x="3" y="26"/>
                    </a:lnTo>
                    <a:lnTo>
                      <a:pt x="8" y="28"/>
                    </a:lnTo>
                    <a:lnTo>
                      <a:pt x="14" y="29"/>
                    </a:lnTo>
                    <a:lnTo>
                      <a:pt x="105" y="29"/>
                    </a:lnTo>
                    <a:lnTo>
                      <a:pt x="111" y="28"/>
                    </a:lnTo>
                    <a:lnTo>
                      <a:pt x="116" y="26"/>
                    </a:lnTo>
                    <a:lnTo>
                      <a:pt x="118" y="21"/>
                    </a:lnTo>
                    <a:lnTo>
                      <a:pt x="120" y="15"/>
                    </a:lnTo>
                    <a:lnTo>
                      <a:pt x="118" y="9"/>
                    </a:lnTo>
                    <a:lnTo>
                      <a:pt x="116" y="4"/>
                    </a:lnTo>
                    <a:lnTo>
                      <a:pt x="111" y="1"/>
                    </a:lnTo>
                    <a:lnTo>
                      <a:pt x="10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Freeform 2132">
                <a:extLst>
                  <a:ext uri="{FF2B5EF4-FFF2-40B4-BE49-F238E27FC236}">
                    <a16:creationId xmlns:a16="http://schemas.microsoft.com/office/drawing/2014/main" id="{C1795150-43EE-EB04-C4D5-D580EEF5F0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66475" y="1084263"/>
                <a:ext cx="19050" cy="9525"/>
              </a:xfrm>
              <a:custGeom>
                <a:avLst/>
                <a:gdLst>
                  <a:gd name="T0" fmla="*/ 45 w 61"/>
                  <a:gd name="T1" fmla="*/ 0 h 30"/>
                  <a:gd name="T2" fmla="*/ 16 w 61"/>
                  <a:gd name="T3" fmla="*/ 0 h 30"/>
                  <a:gd name="T4" fmla="*/ 10 w 61"/>
                  <a:gd name="T5" fmla="*/ 1 h 30"/>
                  <a:gd name="T6" fmla="*/ 5 w 61"/>
                  <a:gd name="T7" fmla="*/ 5 h 30"/>
                  <a:gd name="T8" fmla="*/ 1 w 61"/>
                  <a:gd name="T9" fmla="*/ 8 h 30"/>
                  <a:gd name="T10" fmla="*/ 0 w 61"/>
                  <a:gd name="T11" fmla="*/ 14 h 30"/>
                  <a:gd name="T12" fmla="*/ 1 w 61"/>
                  <a:gd name="T13" fmla="*/ 21 h 30"/>
                  <a:gd name="T14" fmla="*/ 5 w 61"/>
                  <a:gd name="T15" fmla="*/ 25 h 30"/>
                  <a:gd name="T16" fmla="*/ 10 w 61"/>
                  <a:gd name="T17" fmla="*/ 29 h 30"/>
                  <a:gd name="T18" fmla="*/ 16 w 61"/>
                  <a:gd name="T19" fmla="*/ 30 h 30"/>
                  <a:gd name="T20" fmla="*/ 45 w 61"/>
                  <a:gd name="T21" fmla="*/ 30 h 30"/>
                  <a:gd name="T22" fmla="*/ 51 w 61"/>
                  <a:gd name="T23" fmla="*/ 29 h 30"/>
                  <a:gd name="T24" fmla="*/ 56 w 61"/>
                  <a:gd name="T25" fmla="*/ 25 h 30"/>
                  <a:gd name="T26" fmla="*/ 60 w 61"/>
                  <a:gd name="T27" fmla="*/ 21 h 30"/>
                  <a:gd name="T28" fmla="*/ 61 w 61"/>
                  <a:gd name="T29" fmla="*/ 14 h 30"/>
                  <a:gd name="T30" fmla="*/ 60 w 61"/>
                  <a:gd name="T31" fmla="*/ 8 h 30"/>
                  <a:gd name="T32" fmla="*/ 56 w 61"/>
                  <a:gd name="T33" fmla="*/ 5 h 30"/>
                  <a:gd name="T34" fmla="*/ 51 w 61"/>
                  <a:gd name="T35" fmla="*/ 1 h 30"/>
                  <a:gd name="T36" fmla="*/ 45 w 61"/>
                  <a:gd name="T37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1" h="30">
                    <a:moveTo>
                      <a:pt x="45" y="0"/>
                    </a:moveTo>
                    <a:lnTo>
                      <a:pt x="16" y="0"/>
                    </a:lnTo>
                    <a:lnTo>
                      <a:pt x="10" y="1"/>
                    </a:lnTo>
                    <a:lnTo>
                      <a:pt x="5" y="5"/>
                    </a:lnTo>
                    <a:lnTo>
                      <a:pt x="1" y="8"/>
                    </a:lnTo>
                    <a:lnTo>
                      <a:pt x="0" y="14"/>
                    </a:lnTo>
                    <a:lnTo>
                      <a:pt x="1" y="21"/>
                    </a:lnTo>
                    <a:lnTo>
                      <a:pt x="5" y="25"/>
                    </a:lnTo>
                    <a:lnTo>
                      <a:pt x="10" y="29"/>
                    </a:lnTo>
                    <a:lnTo>
                      <a:pt x="16" y="30"/>
                    </a:lnTo>
                    <a:lnTo>
                      <a:pt x="45" y="30"/>
                    </a:lnTo>
                    <a:lnTo>
                      <a:pt x="51" y="29"/>
                    </a:lnTo>
                    <a:lnTo>
                      <a:pt x="56" y="25"/>
                    </a:lnTo>
                    <a:lnTo>
                      <a:pt x="60" y="21"/>
                    </a:lnTo>
                    <a:lnTo>
                      <a:pt x="61" y="14"/>
                    </a:lnTo>
                    <a:lnTo>
                      <a:pt x="60" y="8"/>
                    </a:lnTo>
                    <a:lnTo>
                      <a:pt x="56" y="5"/>
                    </a:lnTo>
                    <a:lnTo>
                      <a:pt x="51" y="1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Freeform 2133">
                <a:extLst>
                  <a:ext uri="{FF2B5EF4-FFF2-40B4-BE49-F238E27FC236}">
                    <a16:creationId xmlns:a16="http://schemas.microsoft.com/office/drawing/2014/main" id="{3C2E7C62-FC94-C35E-8C0C-9012A42D50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95038" y="877888"/>
                <a:ext cx="161925" cy="177800"/>
              </a:xfrm>
              <a:custGeom>
                <a:avLst/>
                <a:gdLst>
                  <a:gd name="T0" fmla="*/ 242 w 511"/>
                  <a:gd name="T1" fmla="*/ 1 h 556"/>
                  <a:gd name="T2" fmla="*/ 217 w 511"/>
                  <a:gd name="T3" fmla="*/ 3 h 556"/>
                  <a:gd name="T4" fmla="*/ 192 w 511"/>
                  <a:gd name="T5" fmla="*/ 8 h 556"/>
                  <a:gd name="T6" fmla="*/ 168 w 511"/>
                  <a:gd name="T7" fmla="*/ 15 h 556"/>
                  <a:gd name="T8" fmla="*/ 134 w 511"/>
                  <a:gd name="T9" fmla="*/ 31 h 556"/>
                  <a:gd name="T10" fmla="*/ 93 w 511"/>
                  <a:gd name="T11" fmla="*/ 58 h 556"/>
                  <a:gd name="T12" fmla="*/ 59 w 511"/>
                  <a:gd name="T13" fmla="*/ 94 h 556"/>
                  <a:gd name="T14" fmla="*/ 31 w 511"/>
                  <a:gd name="T15" fmla="*/ 134 h 556"/>
                  <a:gd name="T16" fmla="*/ 15 w 511"/>
                  <a:gd name="T17" fmla="*/ 168 h 556"/>
                  <a:gd name="T18" fmla="*/ 8 w 511"/>
                  <a:gd name="T19" fmla="*/ 191 h 556"/>
                  <a:gd name="T20" fmla="*/ 3 w 511"/>
                  <a:gd name="T21" fmla="*/ 217 h 556"/>
                  <a:gd name="T22" fmla="*/ 0 w 511"/>
                  <a:gd name="T23" fmla="*/ 243 h 556"/>
                  <a:gd name="T24" fmla="*/ 0 w 511"/>
                  <a:gd name="T25" fmla="*/ 277 h 556"/>
                  <a:gd name="T26" fmla="*/ 8 w 511"/>
                  <a:gd name="T27" fmla="*/ 317 h 556"/>
                  <a:gd name="T28" fmla="*/ 20 w 511"/>
                  <a:gd name="T29" fmla="*/ 355 h 556"/>
                  <a:gd name="T30" fmla="*/ 39 w 511"/>
                  <a:gd name="T31" fmla="*/ 392 h 556"/>
                  <a:gd name="T32" fmla="*/ 63 w 511"/>
                  <a:gd name="T33" fmla="*/ 423 h 556"/>
                  <a:gd name="T34" fmla="*/ 91 w 511"/>
                  <a:gd name="T35" fmla="*/ 451 h 556"/>
                  <a:gd name="T36" fmla="*/ 124 w 511"/>
                  <a:gd name="T37" fmla="*/ 475 h 556"/>
                  <a:gd name="T38" fmla="*/ 160 w 511"/>
                  <a:gd name="T39" fmla="*/ 493 h 556"/>
                  <a:gd name="T40" fmla="*/ 180 w 511"/>
                  <a:gd name="T41" fmla="*/ 542 h 556"/>
                  <a:gd name="T42" fmla="*/ 185 w 511"/>
                  <a:gd name="T43" fmla="*/ 552 h 556"/>
                  <a:gd name="T44" fmla="*/ 196 w 511"/>
                  <a:gd name="T45" fmla="*/ 556 h 556"/>
                  <a:gd name="T46" fmla="*/ 322 w 511"/>
                  <a:gd name="T47" fmla="*/ 555 h 556"/>
                  <a:gd name="T48" fmla="*/ 330 w 511"/>
                  <a:gd name="T49" fmla="*/ 547 h 556"/>
                  <a:gd name="T50" fmla="*/ 331 w 511"/>
                  <a:gd name="T51" fmla="*/ 500 h 556"/>
                  <a:gd name="T52" fmla="*/ 369 w 511"/>
                  <a:gd name="T53" fmla="*/ 484 h 556"/>
                  <a:gd name="T54" fmla="*/ 405 w 511"/>
                  <a:gd name="T55" fmla="*/ 464 h 556"/>
                  <a:gd name="T56" fmla="*/ 435 w 511"/>
                  <a:gd name="T57" fmla="*/ 438 h 556"/>
                  <a:gd name="T58" fmla="*/ 461 w 511"/>
                  <a:gd name="T59" fmla="*/ 407 h 556"/>
                  <a:gd name="T60" fmla="*/ 483 w 511"/>
                  <a:gd name="T61" fmla="*/ 373 h 556"/>
                  <a:gd name="T62" fmla="*/ 499 w 511"/>
                  <a:gd name="T63" fmla="*/ 337 h 556"/>
                  <a:gd name="T64" fmla="*/ 508 w 511"/>
                  <a:gd name="T65" fmla="*/ 298 h 556"/>
                  <a:gd name="T66" fmla="*/ 511 w 511"/>
                  <a:gd name="T67" fmla="*/ 256 h 556"/>
                  <a:gd name="T68" fmla="*/ 510 w 511"/>
                  <a:gd name="T69" fmla="*/ 229 h 556"/>
                  <a:gd name="T70" fmla="*/ 506 w 511"/>
                  <a:gd name="T71" fmla="*/ 205 h 556"/>
                  <a:gd name="T72" fmla="*/ 500 w 511"/>
                  <a:gd name="T73" fmla="*/ 179 h 556"/>
                  <a:gd name="T74" fmla="*/ 491 w 511"/>
                  <a:gd name="T75" fmla="*/ 156 h 556"/>
                  <a:gd name="T76" fmla="*/ 468 w 511"/>
                  <a:gd name="T77" fmla="*/ 113 h 556"/>
                  <a:gd name="T78" fmla="*/ 436 w 511"/>
                  <a:gd name="T79" fmla="*/ 75 h 556"/>
                  <a:gd name="T80" fmla="*/ 399 w 511"/>
                  <a:gd name="T81" fmla="*/ 44 h 556"/>
                  <a:gd name="T82" fmla="*/ 355 w 511"/>
                  <a:gd name="T83" fmla="*/ 20 h 556"/>
                  <a:gd name="T84" fmla="*/ 331 w 511"/>
                  <a:gd name="T85" fmla="*/ 12 h 556"/>
                  <a:gd name="T86" fmla="*/ 307 w 511"/>
                  <a:gd name="T87" fmla="*/ 6 h 556"/>
                  <a:gd name="T88" fmla="*/ 281 w 511"/>
                  <a:gd name="T89" fmla="*/ 1 h 556"/>
                  <a:gd name="T90" fmla="*/ 256 w 511"/>
                  <a:gd name="T91" fmla="*/ 0 h 5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511" h="556">
                    <a:moveTo>
                      <a:pt x="256" y="0"/>
                    </a:moveTo>
                    <a:lnTo>
                      <a:pt x="242" y="1"/>
                    </a:lnTo>
                    <a:lnTo>
                      <a:pt x="230" y="1"/>
                    </a:lnTo>
                    <a:lnTo>
                      <a:pt x="217" y="3"/>
                    </a:lnTo>
                    <a:lnTo>
                      <a:pt x="204" y="6"/>
                    </a:lnTo>
                    <a:lnTo>
                      <a:pt x="192" y="8"/>
                    </a:lnTo>
                    <a:lnTo>
                      <a:pt x="180" y="12"/>
                    </a:lnTo>
                    <a:lnTo>
                      <a:pt x="168" y="15"/>
                    </a:lnTo>
                    <a:lnTo>
                      <a:pt x="157" y="20"/>
                    </a:lnTo>
                    <a:lnTo>
                      <a:pt x="134" y="31"/>
                    </a:lnTo>
                    <a:lnTo>
                      <a:pt x="113" y="44"/>
                    </a:lnTo>
                    <a:lnTo>
                      <a:pt x="93" y="58"/>
                    </a:lnTo>
                    <a:lnTo>
                      <a:pt x="75" y="75"/>
                    </a:lnTo>
                    <a:lnTo>
                      <a:pt x="59" y="94"/>
                    </a:lnTo>
                    <a:lnTo>
                      <a:pt x="43" y="113"/>
                    </a:lnTo>
                    <a:lnTo>
                      <a:pt x="31" y="134"/>
                    </a:lnTo>
                    <a:lnTo>
                      <a:pt x="20" y="156"/>
                    </a:lnTo>
                    <a:lnTo>
                      <a:pt x="15" y="168"/>
                    </a:lnTo>
                    <a:lnTo>
                      <a:pt x="11" y="179"/>
                    </a:lnTo>
                    <a:lnTo>
                      <a:pt x="8" y="191"/>
                    </a:lnTo>
                    <a:lnTo>
                      <a:pt x="5" y="205"/>
                    </a:lnTo>
                    <a:lnTo>
                      <a:pt x="3" y="217"/>
                    </a:lnTo>
                    <a:lnTo>
                      <a:pt x="2" y="229"/>
                    </a:lnTo>
                    <a:lnTo>
                      <a:pt x="0" y="243"/>
                    </a:lnTo>
                    <a:lnTo>
                      <a:pt x="0" y="256"/>
                    </a:lnTo>
                    <a:lnTo>
                      <a:pt x="0" y="277"/>
                    </a:lnTo>
                    <a:lnTo>
                      <a:pt x="3" y="298"/>
                    </a:lnTo>
                    <a:lnTo>
                      <a:pt x="8" y="317"/>
                    </a:lnTo>
                    <a:lnTo>
                      <a:pt x="13" y="337"/>
                    </a:lnTo>
                    <a:lnTo>
                      <a:pt x="20" y="355"/>
                    </a:lnTo>
                    <a:lnTo>
                      <a:pt x="28" y="373"/>
                    </a:lnTo>
                    <a:lnTo>
                      <a:pt x="39" y="392"/>
                    </a:lnTo>
                    <a:lnTo>
                      <a:pt x="50" y="407"/>
                    </a:lnTo>
                    <a:lnTo>
                      <a:pt x="63" y="423"/>
                    </a:lnTo>
                    <a:lnTo>
                      <a:pt x="76" y="438"/>
                    </a:lnTo>
                    <a:lnTo>
                      <a:pt x="91" y="451"/>
                    </a:lnTo>
                    <a:lnTo>
                      <a:pt x="107" y="464"/>
                    </a:lnTo>
                    <a:lnTo>
                      <a:pt x="124" y="475"/>
                    </a:lnTo>
                    <a:lnTo>
                      <a:pt x="142" y="484"/>
                    </a:lnTo>
                    <a:lnTo>
                      <a:pt x="160" y="493"/>
                    </a:lnTo>
                    <a:lnTo>
                      <a:pt x="180" y="500"/>
                    </a:lnTo>
                    <a:lnTo>
                      <a:pt x="180" y="542"/>
                    </a:lnTo>
                    <a:lnTo>
                      <a:pt x="181" y="547"/>
                    </a:lnTo>
                    <a:lnTo>
                      <a:pt x="185" y="552"/>
                    </a:lnTo>
                    <a:lnTo>
                      <a:pt x="190" y="555"/>
                    </a:lnTo>
                    <a:lnTo>
                      <a:pt x="196" y="556"/>
                    </a:lnTo>
                    <a:lnTo>
                      <a:pt x="316" y="556"/>
                    </a:lnTo>
                    <a:lnTo>
                      <a:pt x="322" y="555"/>
                    </a:lnTo>
                    <a:lnTo>
                      <a:pt x="327" y="552"/>
                    </a:lnTo>
                    <a:lnTo>
                      <a:pt x="330" y="547"/>
                    </a:lnTo>
                    <a:lnTo>
                      <a:pt x="331" y="542"/>
                    </a:lnTo>
                    <a:lnTo>
                      <a:pt x="331" y="500"/>
                    </a:lnTo>
                    <a:lnTo>
                      <a:pt x="351" y="493"/>
                    </a:lnTo>
                    <a:lnTo>
                      <a:pt x="369" y="484"/>
                    </a:lnTo>
                    <a:lnTo>
                      <a:pt x="388" y="475"/>
                    </a:lnTo>
                    <a:lnTo>
                      <a:pt x="405" y="464"/>
                    </a:lnTo>
                    <a:lnTo>
                      <a:pt x="421" y="451"/>
                    </a:lnTo>
                    <a:lnTo>
                      <a:pt x="435" y="438"/>
                    </a:lnTo>
                    <a:lnTo>
                      <a:pt x="449" y="423"/>
                    </a:lnTo>
                    <a:lnTo>
                      <a:pt x="461" y="407"/>
                    </a:lnTo>
                    <a:lnTo>
                      <a:pt x="473" y="392"/>
                    </a:lnTo>
                    <a:lnTo>
                      <a:pt x="483" y="373"/>
                    </a:lnTo>
                    <a:lnTo>
                      <a:pt x="491" y="355"/>
                    </a:lnTo>
                    <a:lnTo>
                      <a:pt x="499" y="337"/>
                    </a:lnTo>
                    <a:lnTo>
                      <a:pt x="504" y="317"/>
                    </a:lnTo>
                    <a:lnTo>
                      <a:pt x="508" y="298"/>
                    </a:lnTo>
                    <a:lnTo>
                      <a:pt x="511" y="277"/>
                    </a:lnTo>
                    <a:lnTo>
                      <a:pt x="511" y="256"/>
                    </a:lnTo>
                    <a:lnTo>
                      <a:pt x="511" y="243"/>
                    </a:lnTo>
                    <a:lnTo>
                      <a:pt x="510" y="229"/>
                    </a:lnTo>
                    <a:lnTo>
                      <a:pt x="508" y="217"/>
                    </a:lnTo>
                    <a:lnTo>
                      <a:pt x="506" y="205"/>
                    </a:lnTo>
                    <a:lnTo>
                      <a:pt x="504" y="191"/>
                    </a:lnTo>
                    <a:lnTo>
                      <a:pt x="500" y="179"/>
                    </a:lnTo>
                    <a:lnTo>
                      <a:pt x="496" y="168"/>
                    </a:lnTo>
                    <a:lnTo>
                      <a:pt x="491" y="156"/>
                    </a:lnTo>
                    <a:lnTo>
                      <a:pt x="480" y="134"/>
                    </a:lnTo>
                    <a:lnTo>
                      <a:pt x="468" y="113"/>
                    </a:lnTo>
                    <a:lnTo>
                      <a:pt x="452" y="94"/>
                    </a:lnTo>
                    <a:lnTo>
                      <a:pt x="436" y="75"/>
                    </a:lnTo>
                    <a:lnTo>
                      <a:pt x="418" y="58"/>
                    </a:lnTo>
                    <a:lnTo>
                      <a:pt x="399" y="44"/>
                    </a:lnTo>
                    <a:lnTo>
                      <a:pt x="378" y="31"/>
                    </a:lnTo>
                    <a:lnTo>
                      <a:pt x="355" y="20"/>
                    </a:lnTo>
                    <a:lnTo>
                      <a:pt x="344" y="15"/>
                    </a:lnTo>
                    <a:lnTo>
                      <a:pt x="331" y="12"/>
                    </a:lnTo>
                    <a:lnTo>
                      <a:pt x="319" y="8"/>
                    </a:lnTo>
                    <a:lnTo>
                      <a:pt x="307" y="6"/>
                    </a:lnTo>
                    <a:lnTo>
                      <a:pt x="295" y="3"/>
                    </a:lnTo>
                    <a:lnTo>
                      <a:pt x="281" y="1"/>
                    </a:lnTo>
                    <a:lnTo>
                      <a:pt x="269" y="1"/>
                    </a:lnTo>
                    <a:lnTo>
                      <a:pt x="25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2134">
                <a:extLst>
                  <a:ext uri="{FF2B5EF4-FFF2-40B4-BE49-F238E27FC236}">
                    <a16:creationId xmlns:a16="http://schemas.microsoft.com/office/drawing/2014/main" id="{9AAB596F-A66D-641B-DA0F-AA347A93A5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45825" y="949325"/>
                <a:ext cx="28575" cy="11113"/>
              </a:xfrm>
              <a:custGeom>
                <a:avLst/>
                <a:gdLst>
                  <a:gd name="T0" fmla="*/ 76 w 90"/>
                  <a:gd name="T1" fmla="*/ 0 h 31"/>
                  <a:gd name="T2" fmla="*/ 16 w 90"/>
                  <a:gd name="T3" fmla="*/ 0 h 31"/>
                  <a:gd name="T4" fmla="*/ 10 w 90"/>
                  <a:gd name="T5" fmla="*/ 2 h 31"/>
                  <a:gd name="T6" fmla="*/ 5 w 90"/>
                  <a:gd name="T7" fmla="*/ 5 h 31"/>
                  <a:gd name="T8" fmla="*/ 1 w 90"/>
                  <a:gd name="T9" fmla="*/ 10 h 31"/>
                  <a:gd name="T10" fmla="*/ 0 w 90"/>
                  <a:gd name="T11" fmla="*/ 15 h 31"/>
                  <a:gd name="T12" fmla="*/ 1 w 90"/>
                  <a:gd name="T13" fmla="*/ 21 h 31"/>
                  <a:gd name="T14" fmla="*/ 5 w 90"/>
                  <a:gd name="T15" fmla="*/ 26 h 31"/>
                  <a:gd name="T16" fmla="*/ 10 w 90"/>
                  <a:gd name="T17" fmla="*/ 30 h 31"/>
                  <a:gd name="T18" fmla="*/ 16 w 90"/>
                  <a:gd name="T19" fmla="*/ 31 h 31"/>
                  <a:gd name="T20" fmla="*/ 76 w 90"/>
                  <a:gd name="T21" fmla="*/ 31 h 31"/>
                  <a:gd name="T22" fmla="*/ 82 w 90"/>
                  <a:gd name="T23" fmla="*/ 30 h 31"/>
                  <a:gd name="T24" fmla="*/ 87 w 90"/>
                  <a:gd name="T25" fmla="*/ 26 h 31"/>
                  <a:gd name="T26" fmla="*/ 89 w 90"/>
                  <a:gd name="T27" fmla="*/ 21 h 31"/>
                  <a:gd name="T28" fmla="*/ 90 w 90"/>
                  <a:gd name="T29" fmla="*/ 15 h 31"/>
                  <a:gd name="T30" fmla="*/ 89 w 90"/>
                  <a:gd name="T31" fmla="*/ 10 h 31"/>
                  <a:gd name="T32" fmla="*/ 87 w 90"/>
                  <a:gd name="T33" fmla="*/ 5 h 31"/>
                  <a:gd name="T34" fmla="*/ 82 w 90"/>
                  <a:gd name="T35" fmla="*/ 2 h 31"/>
                  <a:gd name="T36" fmla="*/ 76 w 90"/>
                  <a:gd name="T37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90" h="31">
                    <a:moveTo>
                      <a:pt x="76" y="0"/>
                    </a:moveTo>
                    <a:lnTo>
                      <a:pt x="16" y="0"/>
                    </a:lnTo>
                    <a:lnTo>
                      <a:pt x="10" y="2"/>
                    </a:lnTo>
                    <a:lnTo>
                      <a:pt x="5" y="5"/>
                    </a:lnTo>
                    <a:lnTo>
                      <a:pt x="1" y="10"/>
                    </a:lnTo>
                    <a:lnTo>
                      <a:pt x="0" y="15"/>
                    </a:lnTo>
                    <a:lnTo>
                      <a:pt x="1" y="21"/>
                    </a:lnTo>
                    <a:lnTo>
                      <a:pt x="5" y="26"/>
                    </a:lnTo>
                    <a:lnTo>
                      <a:pt x="10" y="30"/>
                    </a:lnTo>
                    <a:lnTo>
                      <a:pt x="16" y="31"/>
                    </a:lnTo>
                    <a:lnTo>
                      <a:pt x="76" y="31"/>
                    </a:lnTo>
                    <a:lnTo>
                      <a:pt x="82" y="30"/>
                    </a:lnTo>
                    <a:lnTo>
                      <a:pt x="87" y="26"/>
                    </a:lnTo>
                    <a:lnTo>
                      <a:pt x="89" y="21"/>
                    </a:lnTo>
                    <a:lnTo>
                      <a:pt x="90" y="15"/>
                    </a:lnTo>
                    <a:lnTo>
                      <a:pt x="89" y="10"/>
                    </a:lnTo>
                    <a:lnTo>
                      <a:pt x="87" y="5"/>
                    </a:lnTo>
                    <a:lnTo>
                      <a:pt x="82" y="2"/>
                    </a:lnTo>
                    <a:lnTo>
                      <a:pt x="7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135">
                <a:extLst>
                  <a:ext uri="{FF2B5EF4-FFF2-40B4-BE49-F238E27FC236}">
                    <a16:creationId xmlns:a16="http://schemas.microsoft.com/office/drawing/2014/main" id="{1AEF78C3-9B0A-F46F-6011-8095351157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74400" y="863600"/>
                <a:ext cx="34925" cy="34925"/>
              </a:xfrm>
              <a:custGeom>
                <a:avLst/>
                <a:gdLst>
                  <a:gd name="T0" fmla="*/ 91 w 107"/>
                  <a:gd name="T1" fmla="*/ 107 h 107"/>
                  <a:gd name="T2" fmla="*/ 97 w 107"/>
                  <a:gd name="T3" fmla="*/ 105 h 107"/>
                  <a:gd name="T4" fmla="*/ 102 w 107"/>
                  <a:gd name="T5" fmla="*/ 102 h 107"/>
                  <a:gd name="T6" fmla="*/ 105 w 107"/>
                  <a:gd name="T7" fmla="*/ 97 h 107"/>
                  <a:gd name="T8" fmla="*/ 107 w 107"/>
                  <a:gd name="T9" fmla="*/ 91 h 107"/>
                  <a:gd name="T10" fmla="*/ 105 w 107"/>
                  <a:gd name="T11" fmla="*/ 86 h 107"/>
                  <a:gd name="T12" fmla="*/ 102 w 107"/>
                  <a:gd name="T13" fmla="*/ 81 h 107"/>
                  <a:gd name="T14" fmla="*/ 26 w 107"/>
                  <a:gd name="T15" fmla="*/ 5 h 107"/>
                  <a:gd name="T16" fmla="*/ 21 w 107"/>
                  <a:gd name="T17" fmla="*/ 2 h 107"/>
                  <a:gd name="T18" fmla="*/ 16 w 107"/>
                  <a:gd name="T19" fmla="*/ 0 h 107"/>
                  <a:gd name="T20" fmla="*/ 10 w 107"/>
                  <a:gd name="T21" fmla="*/ 2 h 107"/>
                  <a:gd name="T22" fmla="*/ 5 w 107"/>
                  <a:gd name="T23" fmla="*/ 5 h 107"/>
                  <a:gd name="T24" fmla="*/ 2 w 107"/>
                  <a:gd name="T25" fmla="*/ 10 h 107"/>
                  <a:gd name="T26" fmla="*/ 0 w 107"/>
                  <a:gd name="T27" fmla="*/ 16 h 107"/>
                  <a:gd name="T28" fmla="*/ 2 w 107"/>
                  <a:gd name="T29" fmla="*/ 21 h 107"/>
                  <a:gd name="T30" fmla="*/ 5 w 107"/>
                  <a:gd name="T31" fmla="*/ 26 h 107"/>
                  <a:gd name="T32" fmla="*/ 81 w 107"/>
                  <a:gd name="T33" fmla="*/ 102 h 107"/>
                  <a:gd name="T34" fmla="*/ 86 w 107"/>
                  <a:gd name="T35" fmla="*/ 105 h 107"/>
                  <a:gd name="T36" fmla="*/ 91 w 107"/>
                  <a:gd name="T37" fmla="*/ 107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07" h="107">
                    <a:moveTo>
                      <a:pt x="91" y="107"/>
                    </a:moveTo>
                    <a:lnTo>
                      <a:pt x="97" y="105"/>
                    </a:lnTo>
                    <a:lnTo>
                      <a:pt x="102" y="102"/>
                    </a:lnTo>
                    <a:lnTo>
                      <a:pt x="105" y="97"/>
                    </a:lnTo>
                    <a:lnTo>
                      <a:pt x="107" y="91"/>
                    </a:lnTo>
                    <a:lnTo>
                      <a:pt x="105" y="86"/>
                    </a:lnTo>
                    <a:lnTo>
                      <a:pt x="102" y="81"/>
                    </a:lnTo>
                    <a:lnTo>
                      <a:pt x="26" y="5"/>
                    </a:lnTo>
                    <a:lnTo>
                      <a:pt x="21" y="2"/>
                    </a:lnTo>
                    <a:lnTo>
                      <a:pt x="16" y="0"/>
                    </a:lnTo>
                    <a:lnTo>
                      <a:pt x="10" y="2"/>
                    </a:lnTo>
                    <a:lnTo>
                      <a:pt x="5" y="5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1"/>
                    </a:lnTo>
                    <a:lnTo>
                      <a:pt x="5" y="26"/>
                    </a:lnTo>
                    <a:lnTo>
                      <a:pt x="81" y="102"/>
                    </a:lnTo>
                    <a:lnTo>
                      <a:pt x="86" y="105"/>
                    </a:lnTo>
                    <a:lnTo>
                      <a:pt x="91" y="10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2136">
                <a:extLst>
                  <a:ext uri="{FF2B5EF4-FFF2-40B4-BE49-F238E27FC236}">
                    <a16:creationId xmlns:a16="http://schemas.microsoft.com/office/drawing/2014/main" id="{474BC8C8-9270-9CCE-86D9-C34BBFB6B5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71238" y="835025"/>
                <a:ext cx="9525" cy="28575"/>
              </a:xfrm>
              <a:custGeom>
                <a:avLst/>
                <a:gdLst>
                  <a:gd name="T0" fmla="*/ 15 w 29"/>
                  <a:gd name="T1" fmla="*/ 90 h 90"/>
                  <a:gd name="T2" fmla="*/ 21 w 29"/>
                  <a:gd name="T3" fmla="*/ 89 h 90"/>
                  <a:gd name="T4" fmla="*/ 26 w 29"/>
                  <a:gd name="T5" fmla="*/ 87 h 90"/>
                  <a:gd name="T6" fmla="*/ 28 w 29"/>
                  <a:gd name="T7" fmla="*/ 82 h 90"/>
                  <a:gd name="T8" fmla="*/ 29 w 29"/>
                  <a:gd name="T9" fmla="*/ 76 h 90"/>
                  <a:gd name="T10" fmla="*/ 29 w 29"/>
                  <a:gd name="T11" fmla="*/ 16 h 90"/>
                  <a:gd name="T12" fmla="*/ 28 w 29"/>
                  <a:gd name="T13" fmla="*/ 10 h 90"/>
                  <a:gd name="T14" fmla="*/ 26 w 29"/>
                  <a:gd name="T15" fmla="*/ 5 h 90"/>
                  <a:gd name="T16" fmla="*/ 21 w 29"/>
                  <a:gd name="T17" fmla="*/ 1 h 90"/>
                  <a:gd name="T18" fmla="*/ 15 w 29"/>
                  <a:gd name="T19" fmla="*/ 0 h 90"/>
                  <a:gd name="T20" fmla="*/ 9 w 29"/>
                  <a:gd name="T21" fmla="*/ 1 h 90"/>
                  <a:gd name="T22" fmla="*/ 4 w 29"/>
                  <a:gd name="T23" fmla="*/ 5 h 90"/>
                  <a:gd name="T24" fmla="*/ 1 w 29"/>
                  <a:gd name="T25" fmla="*/ 10 h 90"/>
                  <a:gd name="T26" fmla="*/ 0 w 29"/>
                  <a:gd name="T27" fmla="*/ 16 h 90"/>
                  <a:gd name="T28" fmla="*/ 0 w 29"/>
                  <a:gd name="T29" fmla="*/ 76 h 90"/>
                  <a:gd name="T30" fmla="*/ 1 w 29"/>
                  <a:gd name="T31" fmla="*/ 82 h 90"/>
                  <a:gd name="T32" fmla="*/ 4 w 29"/>
                  <a:gd name="T33" fmla="*/ 87 h 90"/>
                  <a:gd name="T34" fmla="*/ 9 w 29"/>
                  <a:gd name="T35" fmla="*/ 89 h 90"/>
                  <a:gd name="T36" fmla="*/ 15 w 29"/>
                  <a:gd name="T37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9" h="90">
                    <a:moveTo>
                      <a:pt x="15" y="90"/>
                    </a:moveTo>
                    <a:lnTo>
                      <a:pt x="21" y="89"/>
                    </a:lnTo>
                    <a:lnTo>
                      <a:pt x="26" y="87"/>
                    </a:lnTo>
                    <a:lnTo>
                      <a:pt x="28" y="82"/>
                    </a:lnTo>
                    <a:lnTo>
                      <a:pt x="29" y="76"/>
                    </a:lnTo>
                    <a:lnTo>
                      <a:pt x="29" y="16"/>
                    </a:lnTo>
                    <a:lnTo>
                      <a:pt x="28" y="10"/>
                    </a:lnTo>
                    <a:lnTo>
                      <a:pt x="26" y="5"/>
                    </a:lnTo>
                    <a:lnTo>
                      <a:pt x="21" y="1"/>
                    </a:lnTo>
                    <a:lnTo>
                      <a:pt x="15" y="0"/>
                    </a:lnTo>
                    <a:lnTo>
                      <a:pt x="9" y="1"/>
                    </a:lnTo>
                    <a:lnTo>
                      <a:pt x="4" y="5"/>
                    </a:lnTo>
                    <a:lnTo>
                      <a:pt x="1" y="10"/>
                    </a:lnTo>
                    <a:lnTo>
                      <a:pt x="0" y="16"/>
                    </a:lnTo>
                    <a:lnTo>
                      <a:pt x="0" y="76"/>
                    </a:lnTo>
                    <a:lnTo>
                      <a:pt x="1" y="82"/>
                    </a:lnTo>
                    <a:lnTo>
                      <a:pt x="4" y="87"/>
                    </a:lnTo>
                    <a:lnTo>
                      <a:pt x="9" y="89"/>
                    </a:lnTo>
                    <a:lnTo>
                      <a:pt x="15" y="9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Freeform 2137">
                <a:extLst>
                  <a:ext uri="{FF2B5EF4-FFF2-40B4-BE49-F238E27FC236}">
                    <a16:creationId xmlns:a16="http://schemas.microsoft.com/office/drawing/2014/main" id="{CD38A31D-8963-662E-6833-F88224BC3B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242675" y="863600"/>
                <a:ext cx="33338" cy="34925"/>
              </a:xfrm>
              <a:custGeom>
                <a:avLst/>
                <a:gdLst>
                  <a:gd name="T0" fmla="*/ 101 w 106"/>
                  <a:gd name="T1" fmla="*/ 5 h 107"/>
                  <a:gd name="T2" fmla="*/ 96 w 106"/>
                  <a:gd name="T3" fmla="*/ 2 h 107"/>
                  <a:gd name="T4" fmla="*/ 90 w 106"/>
                  <a:gd name="T5" fmla="*/ 0 h 107"/>
                  <a:gd name="T6" fmla="*/ 85 w 106"/>
                  <a:gd name="T7" fmla="*/ 2 h 107"/>
                  <a:gd name="T8" fmla="*/ 80 w 106"/>
                  <a:gd name="T9" fmla="*/ 5 h 107"/>
                  <a:gd name="T10" fmla="*/ 5 w 106"/>
                  <a:gd name="T11" fmla="*/ 80 h 107"/>
                  <a:gd name="T12" fmla="*/ 1 w 106"/>
                  <a:gd name="T13" fmla="*/ 86 h 107"/>
                  <a:gd name="T14" fmla="*/ 0 w 106"/>
                  <a:gd name="T15" fmla="*/ 91 h 107"/>
                  <a:gd name="T16" fmla="*/ 1 w 106"/>
                  <a:gd name="T17" fmla="*/ 97 h 107"/>
                  <a:gd name="T18" fmla="*/ 5 w 106"/>
                  <a:gd name="T19" fmla="*/ 102 h 107"/>
                  <a:gd name="T20" fmla="*/ 10 w 106"/>
                  <a:gd name="T21" fmla="*/ 105 h 107"/>
                  <a:gd name="T22" fmla="*/ 16 w 106"/>
                  <a:gd name="T23" fmla="*/ 107 h 107"/>
                  <a:gd name="T24" fmla="*/ 21 w 106"/>
                  <a:gd name="T25" fmla="*/ 105 h 107"/>
                  <a:gd name="T26" fmla="*/ 25 w 106"/>
                  <a:gd name="T27" fmla="*/ 102 h 107"/>
                  <a:gd name="T28" fmla="*/ 101 w 106"/>
                  <a:gd name="T29" fmla="*/ 26 h 107"/>
                  <a:gd name="T30" fmla="*/ 105 w 106"/>
                  <a:gd name="T31" fmla="*/ 21 h 107"/>
                  <a:gd name="T32" fmla="*/ 106 w 106"/>
                  <a:gd name="T33" fmla="*/ 16 h 107"/>
                  <a:gd name="T34" fmla="*/ 105 w 106"/>
                  <a:gd name="T35" fmla="*/ 10 h 107"/>
                  <a:gd name="T36" fmla="*/ 101 w 106"/>
                  <a:gd name="T37" fmla="*/ 5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06" h="107">
                    <a:moveTo>
                      <a:pt x="101" y="5"/>
                    </a:moveTo>
                    <a:lnTo>
                      <a:pt x="96" y="2"/>
                    </a:lnTo>
                    <a:lnTo>
                      <a:pt x="90" y="0"/>
                    </a:lnTo>
                    <a:lnTo>
                      <a:pt x="85" y="2"/>
                    </a:lnTo>
                    <a:lnTo>
                      <a:pt x="80" y="5"/>
                    </a:lnTo>
                    <a:lnTo>
                      <a:pt x="5" y="80"/>
                    </a:lnTo>
                    <a:lnTo>
                      <a:pt x="1" y="86"/>
                    </a:lnTo>
                    <a:lnTo>
                      <a:pt x="0" y="91"/>
                    </a:lnTo>
                    <a:lnTo>
                      <a:pt x="1" y="97"/>
                    </a:lnTo>
                    <a:lnTo>
                      <a:pt x="5" y="102"/>
                    </a:lnTo>
                    <a:lnTo>
                      <a:pt x="10" y="105"/>
                    </a:lnTo>
                    <a:lnTo>
                      <a:pt x="16" y="107"/>
                    </a:lnTo>
                    <a:lnTo>
                      <a:pt x="21" y="105"/>
                    </a:lnTo>
                    <a:lnTo>
                      <a:pt x="25" y="102"/>
                    </a:lnTo>
                    <a:lnTo>
                      <a:pt x="101" y="26"/>
                    </a:lnTo>
                    <a:lnTo>
                      <a:pt x="105" y="21"/>
                    </a:lnTo>
                    <a:lnTo>
                      <a:pt x="106" y="16"/>
                    </a:lnTo>
                    <a:lnTo>
                      <a:pt x="105" y="10"/>
                    </a:lnTo>
                    <a:lnTo>
                      <a:pt x="101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Freeform 2138">
                <a:extLst>
                  <a:ext uri="{FF2B5EF4-FFF2-40B4-BE49-F238E27FC236}">
                    <a16:creationId xmlns:a16="http://schemas.microsoft.com/office/drawing/2014/main" id="{F902B35A-C125-FD40-E040-385923A475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276013" y="949325"/>
                <a:ext cx="28575" cy="11113"/>
              </a:xfrm>
              <a:custGeom>
                <a:avLst/>
                <a:gdLst>
                  <a:gd name="T0" fmla="*/ 75 w 90"/>
                  <a:gd name="T1" fmla="*/ 0 h 31"/>
                  <a:gd name="T2" fmla="*/ 15 w 90"/>
                  <a:gd name="T3" fmla="*/ 0 h 31"/>
                  <a:gd name="T4" fmla="*/ 9 w 90"/>
                  <a:gd name="T5" fmla="*/ 2 h 31"/>
                  <a:gd name="T6" fmla="*/ 4 w 90"/>
                  <a:gd name="T7" fmla="*/ 5 h 31"/>
                  <a:gd name="T8" fmla="*/ 1 w 90"/>
                  <a:gd name="T9" fmla="*/ 10 h 31"/>
                  <a:gd name="T10" fmla="*/ 0 w 90"/>
                  <a:gd name="T11" fmla="*/ 15 h 31"/>
                  <a:gd name="T12" fmla="*/ 1 w 90"/>
                  <a:gd name="T13" fmla="*/ 21 h 31"/>
                  <a:gd name="T14" fmla="*/ 4 w 90"/>
                  <a:gd name="T15" fmla="*/ 26 h 31"/>
                  <a:gd name="T16" fmla="*/ 9 w 90"/>
                  <a:gd name="T17" fmla="*/ 30 h 31"/>
                  <a:gd name="T18" fmla="*/ 15 w 90"/>
                  <a:gd name="T19" fmla="*/ 31 h 31"/>
                  <a:gd name="T20" fmla="*/ 75 w 90"/>
                  <a:gd name="T21" fmla="*/ 31 h 31"/>
                  <a:gd name="T22" fmla="*/ 81 w 90"/>
                  <a:gd name="T23" fmla="*/ 30 h 31"/>
                  <a:gd name="T24" fmla="*/ 86 w 90"/>
                  <a:gd name="T25" fmla="*/ 26 h 31"/>
                  <a:gd name="T26" fmla="*/ 89 w 90"/>
                  <a:gd name="T27" fmla="*/ 21 h 31"/>
                  <a:gd name="T28" fmla="*/ 90 w 90"/>
                  <a:gd name="T29" fmla="*/ 15 h 31"/>
                  <a:gd name="T30" fmla="*/ 89 w 90"/>
                  <a:gd name="T31" fmla="*/ 10 h 31"/>
                  <a:gd name="T32" fmla="*/ 86 w 90"/>
                  <a:gd name="T33" fmla="*/ 5 h 31"/>
                  <a:gd name="T34" fmla="*/ 81 w 90"/>
                  <a:gd name="T35" fmla="*/ 2 h 31"/>
                  <a:gd name="T36" fmla="*/ 75 w 90"/>
                  <a:gd name="T37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90" h="31">
                    <a:moveTo>
                      <a:pt x="75" y="0"/>
                    </a:moveTo>
                    <a:lnTo>
                      <a:pt x="15" y="0"/>
                    </a:lnTo>
                    <a:lnTo>
                      <a:pt x="9" y="2"/>
                    </a:lnTo>
                    <a:lnTo>
                      <a:pt x="4" y="5"/>
                    </a:lnTo>
                    <a:lnTo>
                      <a:pt x="1" y="10"/>
                    </a:lnTo>
                    <a:lnTo>
                      <a:pt x="0" y="15"/>
                    </a:lnTo>
                    <a:lnTo>
                      <a:pt x="1" y="21"/>
                    </a:lnTo>
                    <a:lnTo>
                      <a:pt x="4" y="26"/>
                    </a:lnTo>
                    <a:lnTo>
                      <a:pt x="9" y="30"/>
                    </a:lnTo>
                    <a:lnTo>
                      <a:pt x="15" y="31"/>
                    </a:lnTo>
                    <a:lnTo>
                      <a:pt x="75" y="31"/>
                    </a:lnTo>
                    <a:lnTo>
                      <a:pt x="81" y="30"/>
                    </a:lnTo>
                    <a:lnTo>
                      <a:pt x="86" y="26"/>
                    </a:lnTo>
                    <a:lnTo>
                      <a:pt x="89" y="21"/>
                    </a:lnTo>
                    <a:lnTo>
                      <a:pt x="90" y="15"/>
                    </a:lnTo>
                    <a:lnTo>
                      <a:pt x="89" y="10"/>
                    </a:lnTo>
                    <a:lnTo>
                      <a:pt x="86" y="5"/>
                    </a:lnTo>
                    <a:lnTo>
                      <a:pt x="81" y="2"/>
                    </a:lnTo>
                    <a:lnTo>
                      <a:pt x="7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42" name="Text Placeholder 1">
            <a:extLst>
              <a:ext uri="{FF2B5EF4-FFF2-40B4-BE49-F238E27FC236}">
                <a16:creationId xmlns:a16="http://schemas.microsoft.com/office/drawing/2014/main" id="{4451DB66-68DF-CE28-7A5A-640C92A3BD43}"/>
              </a:ext>
            </a:extLst>
          </p:cNvPr>
          <p:cNvSpPr txBox="1">
            <a:spLocks/>
          </p:cNvSpPr>
          <p:nvPr/>
        </p:nvSpPr>
        <p:spPr>
          <a:xfrm>
            <a:off x="8783945" y="5097821"/>
            <a:ext cx="1238907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16000" indent="-216000" algn="l" defTabSz="914378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75000"/>
              <a:buFontTx/>
              <a:buBlip>
                <a:blip r:embed="rId4"/>
              </a:buBlip>
              <a:defRPr lang="nn-NO" sz="2000" kern="120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2438" indent="-215900" algn="l" defTabSz="914378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75000"/>
              <a:buFontTx/>
              <a:buBlip>
                <a:blip r:embed="rId5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9613" indent="-225425" algn="l" defTabSz="914378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75000"/>
              <a:buFontTx/>
              <a:buBlip>
                <a:blip r:embed="rId5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2350" indent="-236538" algn="l" defTabSz="914378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75000"/>
              <a:buFontTx/>
              <a:buBlip>
                <a:blip r:embed="rId5"/>
              </a:buBlip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0" algn="l" defTabSz="914378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" panose="020B0604020202020204" pitchFamily="34" charset="0"/>
              <a:buNone/>
              <a:defRPr lang="nn-NO" sz="2000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ts val="0"/>
              </a:spcBef>
              <a:buNone/>
            </a:pPr>
            <a:r>
              <a:rPr lang="en-US" sz="1200" b="1">
                <a:solidFill>
                  <a:schemeClr val="bg1"/>
                </a:solidFill>
                <a:effectLst>
                  <a:outerShdw blurRad="215900" sx="102000" sy="102000" algn="ctr" rotWithShape="0">
                    <a:prstClr val="black">
                      <a:alpha val="26000"/>
                    </a:prstClr>
                  </a:outerShdw>
                </a:effectLst>
                <a:latin typeface="Oscine" panose="020B0506040202020204" pitchFamily="34" charset="0"/>
                <a:ea typeface="Open Sans" panose="020B0606030504020204" pitchFamily="34" charset="0"/>
                <a:cs typeface="Oscine" panose="020B0506040202020204" pitchFamily="34" charset="0"/>
              </a:rPr>
              <a:t>World’s largest eco system to find the right solution</a:t>
            </a:r>
            <a:endParaRPr lang="en-DK" sz="1200" b="1">
              <a:solidFill>
                <a:schemeClr val="bg1"/>
              </a:solidFill>
              <a:effectLst>
                <a:outerShdw blurRad="215900" sx="102000" sy="102000" algn="ctr" rotWithShape="0">
                  <a:prstClr val="black">
                    <a:alpha val="26000"/>
                  </a:prstClr>
                </a:outerShdw>
              </a:effectLst>
              <a:latin typeface="Oscine" panose="020B0506040202020204" pitchFamily="34" charset="0"/>
              <a:ea typeface="Open Sans" panose="020B0606030504020204" pitchFamily="34" charset="0"/>
              <a:cs typeface="Oscine" panose="020B0506040202020204" pitchFamily="34" charset="0"/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376530C8-142E-7213-D675-14912B79818C}"/>
              </a:ext>
            </a:extLst>
          </p:cNvPr>
          <p:cNvGrpSpPr/>
          <p:nvPr/>
        </p:nvGrpSpPr>
        <p:grpSpPr>
          <a:xfrm>
            <a:off x="9199313" y="1690775"/>
            <a:ext cx="408172" cy="326987"/>
            <a:chOff x="4329113" y="846138"/>
            <a:chExt cx="287338" cy="230187"/>
          </a:xfrm>
          <a:solidFill>
            <a:schemeClr val="bg1"/>
          </a:solidFill>
        </p:grpSpPr>
        <p:sp>
          <p:nvSpPr>
            <p:cNvPr id="44" name="Freeform 1456">
              <a:extLst>
                <a:ext uri="{FF2B5EF4-FFF2-40B4-BE49-F238E27FC236}">
                  <a16:creationId xmlns:a16="http://schemas.microsoft.com/office/drawing/2014/main" id="{6249592B-E127-9A30-5A3C-2BAC11C921A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9113" y="1028700"/>
              <a:ext cx="287338" cy="47625"/>
            </a:xfrm>
            <a:custGeom>
              <a:avLst/>
              <a:gdLst>
                <a:gd name="T0" fmla="*/ 527 w 905"/>
                <a:gd name="T1" fmla="*/ 0 h 151"/>
                <a:gd name="T2" fmla="*/ 522 w 905"/>
                <a:gd name="T3" fmla="*/ 1 h 151"/>
                <a:gd name="T4" fmla="*/ 517 w 905"/>
                <a:gd name="T5" fmla="*/ 5 h 151"/>
                <a:gd name="T6" fmla="*/ 514 w 905"/>
                <a:gd name="T7" fmla="*/ 9 h 151"/>
                <a:gd name="T8" fmla="*/ 513 w 905"/>
                <a:gd name="T9" fmla="*/ 15 h 151"/>
                <a:gd name="T10" fmla="*/ 392 w 905"/>
                <a:gd name="T11" fmla="*/ 30 h 151"/>
                <a:gd name="T12" fmla="*/ 391 w 905"/>
                <a:gd name="T13" fmla="*/ 11 h 151"/>
                <a:gd name="T14" fmla="*/ 389 w 905"/>
                <a:gd name="T15" fmla="*/ 7 h 151"/>
                <a:gd name="T16" fmla="*/ 386 w 905"/>
                <a:gd name="T17" fmla="*/ 3 h 151"/>
                <a:gd name="T18" fmla="*/ 380 w 905"/>
                <a:gd name="T19" fmla="*/ 0 h 151"/>
                <a:gd name="T20" fmla="*/ 15 w 905"/>
                <a:gd name="T21" fmla="*/ 0 h 151"/>
                <a:gd name="T22" fmla="*/ 9 w 905"/>
                <a:gd name="T23" fmla="*/ 1 h 151"/>
                <a:gd name="T24" fmla="*/ 4 w 905"/>
                <a:gd name="T25" fmla="*/ 5 h 151"/>
                <a:gd name="T26" fmla="*/ 1 w 905"/>
                <a:gd name="T27" fmla="*/ 9 h 151"/>
                <a:gd name="T28" fmla="*/ 0 w 905"/>
                <a:gd name="T29" fmla="*/ 15 h 151"/>
                <a:gd name="T30" fmla="*/ 0 w 905"/>
                <a:gd name="T31" fmla="*/ 83 h 151"/>
                <a:gd name="T32" fmla="*/ 3 w 905"/>
                <a:gd name="T33" fmla="*/ 98 h 151"/>
                <a:gd name="T34" fmla="*/ 9 w 905"/>
                <a:gd name="T35" fmla="*/ 111 h 151"/>
                <a:gd name="T36" fmla="*/ 16 w 905"/>
                <a:gd name="T37" fmla="*/ 123 h 151"/>
                <a:gd name="T38" fmla="*/ 27 w 905"/>
                <a:gd name="T39" fmla="*/ 133 h 151"/>
                <a:gd name="T40" fmla="*/ 40 w 905"/>
                <a:gd name="T41" fmla="*/ 142 h 151"/>
                <a:gd name="T42" fmla="*/ 53 w 905"/>
                <a:gd name="T43" fmla="*/ 147 h 151"/>
                <a:gd name="T44" fmla="*/ 67 w 905"/>
                <a:gd name="T45" fmla="*/ 151 h 151"/>
                <a:gd name="T46" fmla="*/ 829 w 905"/>
                <a:gd name="T47" fmla="*/ 151 h 151"/>
                <a:gd name="T48" fmla="*/ 845 w 905"/>
                <a:gd name="T49" fmla="*/ 150 h 151"/>
                <a:gd name="T50" fmla="*/ 859 w 905"/>
                <a:gd name="T51" fmla="*/ 145 h 151"/>
                <a:gd name="T52" fmla="*/ 871 w 905"/>
                <a:gd name="T53" fmla="*/ 137 h 151"/>
                <a:gd name="T54" fmla="*/ 882 w 905"/>
                <a:gd name="T55" fmla="*/ 129 h 151"/>
                <a:gd name="T56" fmla="*/ 892 w 905"/>
                <a:gd name="T57" fmla="*/ 118 h 151"/>
                <a:gd name="T58" fmla="*/ 899 w 905"/>
                <a:gd name="T59" fmla="*/ 104 h 151"/>
                <a:gd name="T60" fmla="*/ 903 w 905"/>
                <a:gd name="T61" fmla="*/ 90 h 151"/>
                <a:gd name="T62" fmla="*/ 905 w 905"/>
                <a:gd name="T63" fmla="*/ 76 h 151"/>
                <a:gd name="T64" fmla="*/ 905 w 905"/>
                <a:gd name="T65" fmla="*/ 11 h 151"/>
                <a:gd name="T66" fmla="*/ 902 w 905"/>
                <a:gd name="T67" fmla="*/ 7 h 151"/>
                <a:gd name="T68" fmla="*/ 898 w 905"/>
                <a:gd name="T69" fmla="*/ 3 h 151"/>
                <a:gd name="T70" fmla="*/ 892 w 905"/>
                <a:gd name="T71" fmla="*/ 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05" h="151">
                  <a:moveTo>
                    <a:pt x="890" y="0"/>
                  </a:moveTo>
                  <a:lnTo>
                    <a:pt x="527" y="0"/>
                  </a:lnTo>
                  <a:lnTo>
                    <a:pt x="525" y="0"/>
                  </a:lnTo>
                  <a:lnTo>
                    <a:pt x="522" y="1"/>
                  </a:lnTo>
                  <a:lnTo>
                    <a:pt x="520" y="3"/>
                  </a:lnTo>
                  <a:lnTo>
                    <a:pt x="517" y="5"/>
                  </a:lnTo>
                  <a:lnTo>
                    <a:pt x="515" y="7"/>
                  </a:lnTo>
                  <a:lnTo>
                    <a:pt x="514" y="9"/>
                  </a:lnTo>
                  <a:lnTo>
                    <a:pt x="513" y="11"/>
                  </a:lnTo>
                  <a:lnTo>
                    <a:pt x="513" y="15"/>
                  </a:lnTo>
                  <a:lnTo>
                    <a:pt x="513" y="30"/>
                  </a:lnTo>
                  <a:lnTo>
                    <a:pt x="392" y="30"/>
                  </a:lnTo>
                  <a:lnTo>
                    <a:pt x="392" y="15"/>
                  </a:lnTo>
                  <a:lnTo>
                    <a:pt x="391" y="11"/>
                  </a:lnTo>
                  <a:lnTo>
                    <a:pt x="390" y="9"/>
                  </a:lnTo>
                  <a:lnTo>
                    <a:pt x="389" y="7"/>
                  </a:lnTo>
                  <a:lnTo>
                    <a:pt x="388" y="5"/>
                  </a:lnTo>
                  <a:lnTo>
                    <a:pt x="386" y="3"/>
                  </a:lnTo>
                  <a:lnTo>
                    <a:pt x="383" y="1"/>
                  </a:lnTo>
                  <a:lnTo>
                    <a:pt x="380" y="0"/>
                  </a:lnTo>
                  <a:lnTo>
                    <a:pt x="377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6" y="3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1"/>
                  </a:lnTo>
                  <a:lnTo>
                    <a:pt x="0" y="15"/>
                  </a:lnTo>
                  <a:lnTo>
                    <a:pt x="0" y="76"/>
                  </a:lnTo>
                  <a:lnTo>
                    <a:pt x="0" y="83"/>
                  </a:lnTo>
                  <a:lnTo>
                    <a:pt x="1" y="90"/>
                  </a:lnTo>
                  <a:lnTo>
                    <a:pt x="3" y="98"/>
                  </a:lnTo>
                  <a:lnTo>
                    <a:pt x="5" y="104"/>
                  </a:lnTo>
                  <a:lnTo>
                    <a:pt x="9" y="111"/>
                  </a:lnTo>
                  <a:lnTo>
                    <a:pt x="13" y="118"/>
                  </a:lnTo>
                  <a:lnTo>
                    <a:pt x="16" y="123"/>
                  </a:lnTo>
                  <a:lnTo>
                    <a:pt x="22" y="129"/>
                  </a:lnTo>
                  <a:lnTo>
                    <a:pt x="27" y="133"/>
                  </a:lnTo>
                  <a:lnTo>
                    <a:pt x="33" y="137"/>
                  </a:lnTo>
                  <a:lnTo>
                    <a:pt x="40" y="142"/>
                  </a:lnTo>
                  <a:lnTo>
                    <a:pt x="46" y="145"/>
                  </a:lnTo>
                  <a:lnTo>
                    <a:pt x="53" y="147"/>
                  </a:lnTo>
                  <a:lnTo>
                    <a:pt x="60" y="150"/>
                  </a:lnTo>
                  <a:lnTo>
                    <a:pt x="67" y="151"/>
                  </a:lnTo>
                  <a:lnTo>
                    <a:pt x="75" y="151"/>
                  </a:lnTo>
                  <a:lnTo>
                    <a:pt x="829" y="151"/>
                  </a:lnTo>
                  <a:lnTo>
                    <a:pt x="837" y="151"/>
                  </a:lnTo>
                  <a:lnTo>
                    <a:pt x="845" y="150"/>
                  </a:lnTo>
                  <a:lnTo>
                    <a:pt x="852" y="147"/>
                  </a:lnTo>
                  <a:lnTo>
                    <a:pt x="859" y="145"/>
                  </a:lnTo>
                  <a:lnTo>
                    <a:pt x="866" y="142"/>
                  </a:lnTo>
                  <a:lnTo>
                    <a:pt x="871" y="137"/>
                  </a:lnTo>
                  <a:lnTo>
                    <a:pt x="877" y="133"/>
                  </a:lnTo>
                  <a:lnTo>
                    <a:pt x="882" y="129"/>
                  </a:lnTo>
                  <a:lnTo>
                    <a:pt x="888" y="123"/>
                  </a:lnTo>
                  <a:lnTo>
                    <a:pt x="892" y="118"/>
                  </a:lnTo>
                  <a:lnTo>
                    <a:pt x="896" y="111"/>
                  </a:lnTo>
                  <a:lnTo>
                    <a:pt x="899" y="104"/>
                  </a:lnTo>
                  <a:lnTo>
                    <a:pt x="901" y="98"/>
                  </a:lnTo>
                  <a:lnTo>
                    <a:pt x="903" y="90"/>
                  </a:lnTo>
                  <a:lnTo>
                    <a:pt x="905" y="83"/>
                  </a:lnTo>
                  <a:lnTo>
                    <a:pt x="905" y="76"/>
                  </a:lnTo>
                  <a:lnTo>
                    <a:pt x="905" y="15"/>
                  </a:lnTo>
                  <a:lnTo>
                    <a:pt x="905" y="11"/>
                  </a:lnTo>
                  <a:lnTo>
                    <a:pt x="903" y="9"/>
                  </a:lnTo>
                  <a:lnTo>
                    <a:pt x="902" y="7"/>
                  </a:lnTo>
                  <a:lnTo>
                    <a:pt x="900" y="5"/>
                  </a:lnTo>
                  <a:lnTo>
                    <a:pt x="898" y="3"/>
                  </a:lnTo>
                  <a:lnTo>
                    <a:pt x="896" y="1"/>
                  </a:lnTo>
                  <a:lnTo>
                    <a:pt x="892" y="0"/>
                  </a:lnTo>
                  <a:lnTo>
                    <a:pt x="89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457">
              <a:extLst>
                <a:ext uri="{FF2B5EF4-FFF2-40B4-BE49-F238E27FC236}">
                  <a16:creationId xmlns:a16="http://schemas.microsoft.com/office/drawing/2014/main" id="{87259C50-9B5C-3195-E443-28ECBCB34E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38638" y="846138"/>
              <a:ext cx="268288" cy="171450"/>
            </a:xfrm>
            <a:custGeom>
              <a:avLst/>
              <a:gdLst>
                <a:gd name="T0" fmla="*/ 61 w 845"/>
                <a:gd name="T1" fmla="*/ 61 h 543"/>
                <a:gd name="T2" fmla="*/ 784 w 845"/>
                <a:gd name="T3" fmla="*/ 61 h 543"/>
                <a:gd name="T4" fmla="*/ 784 w 845"/>
                <a:gd name="T5" fmla="*/ 484 h 543"/>
                <a:gd name="T6" fmla="*/ 61 w 845"/>
                <a:gd name="T7" fmla="*/ 484 h 543"/>
                <a:gd name="T8" fmla="*/ 61 w 845"/>
                <a:gd name="T9" fmla="*/ 61 h 543"/>
                <a:gd name="T10" fmla="*/ 15 w 845"/>
                <a:gd name="T11" fmla="*/ 543 h 543"/>
                <a:gd name="T12" fmla="*/ 829 w 845"/>
                <a:gd name="T13" fmla="*/ 543 h 543"/>
                <a:gd name="T14" fmla="*/ 833 w 845"/>
                <a:gd name="T15" fmla="*/ 543 h 543"/>
                <a:gd name="T16" fmla="*/ 836 w 845"/>
                <a:gd name="T17" fmla="*/ 542 h 543"/>
                <a:gd name="T18" fmla="*/ 838 w 845"/>
                <a:gd name="T19" fmla="*/ 541 h 543"/>
                <a:gd name="T20" fmla="*/ 840 w 845"/>
                <a:gd name="T21" fmla="*/ 539 h 543"/>
                <a:gd name="T22" fmla="*/ 843 w 845"/>
                <a:gd name="T23" fmla="*/ 537 h 543"/>
                <a:gd name="T24" fmla="*/ 844 w 845"/>
                <a:gd name="T25" fmla="*/ 534 h 543"/>
                <a:gd name="T26" fmla="*/ 845 w 845"/>
                <a:gd name="T27" fmla="*/ 531 h 543"/>
                <a:gd name="T28" fmla="*/ 845 w 845"/>
                <a:gd name="T29" fmla="*/ 529 h 543"/>
                <a:gd name="T30" fmla="*/ 845 w 845"/>
                <a:gd name="T31" fmla="*/ 75 h 543"/>
                <a:gd name="T32" fmla="*/ 845 w 845"/>
                <a:gd name="T33" fmla="*/ 68 h 543"/>
                <a:gd name="T34" fmla="*/ 844 w 845"/>
                <a:gd name="T35" fmla="*/ 61 h 543"/>
                <a:gd name="T36" fmla="*/ 841 w 845"/>
                <a:gd name="T37" fmla="*/ 53 h 543"/>
                <a:gd name="T38" fmla="*/ 839 w 845"/>
                <a:gd name="T39" fmla="*/ 47 h 543"/>
                <a:gd name="T40" fmla="*/ 836 w 845"/>
                <a:gd name="T41" fmla="*/ 40 h 543"/>
                <a:gd name="T42" fmla="*/ 831 w 845"/>
                <a:gd name="T43" fmla="*/ 33 h 543"/>
                <a:gd name="T44" fmla="*/ 827 w 845"/>
                <a:gd name="T45" fmla="*/ 28 h 543"/>
                <a:gd name="T46" fmla="*/ 823 w 845"/>
                <a:gd name="T47" fmla="*/ 22 h 543"/>
                <a:gd name="T48" fmla="*/ 817 w 845"/>
                <a:gd name="T49" fmla="*/ 18 h 543"/>
                <a:gd name="T50" fmla="*/ 812 w 845"/>
                <a:gd name="T51" fmla="*/ 13 h 543"/>
                <a:gd name="T52" fmla="*/ 805 w 845"/>
                <a:gd name="T53" fmla="*/ 9 h 543"/>
                <a:gd name="T54" fmla="*/ 798 w 845"/>
                <a:gd name="T55" fmla="*/ 7 h 543"/>
                <a:gd name="T56" fmla="*/ 792 w 845"/>
                <a:gd name="T57" fmla="*/ 3 h 543"/>
                <a:gd name="T58" fmla="*/ 785 w 845"/>
                <a:gd name="T59" fmla="*/ 2 h 543"/>
                <a:gd name="T60" fmla="*/ 777 w 845"/>
                <a:gd name="T61" fmla="*/ 1 h 543"/>
                <a:gd name="T62" fmla="*/ 770 w 845"/>
                <a:gd name="T63" fmla="*/ 0 h 543"/>
                <a:gd name="T64" fmla="*/ 75 w 845"/>
                <a:gd name="T65" fmla="*/ 0 h 543"/>
                <a:gd name="T66" fmla="*/ 67 w 845"/>
                <a:gd name="T67" fmla="*/ 0 h 543"/>
                <a:gd name="T68" fmla="*/ 61 w 845"/>
                <a:gd name="T69" fmla="*/ 2 h 543"/>
                <a:gd name="T70" fmla="*/ 53 w 845"/>
                <a:gd name="T71" fmla="*/ 3 h 543"/>
                <a:gd name="T72" fmla="*/ 46 w 845"/>
                <a:gd name="T73" fmla="*/ 7 h 543"/>
                <a:gd name="T74" fmla="*/ 39 w 845"/>
                <a:gd name="T75" fmla="*/ 9 h 543"/>
                <a:gd name="T76" fmla="*/ 33 w 845"/>
                <a:gd name="T77" fmla="*/ 13 h 543"/>
                <a:gd name="T78" fmla="*/ 27 w 845"/>
                <a:gd name="T79" fmla="*/ 18 h 543"/>
                <a:gd name="T80" fmla="*/ 22 w 845"/>
                <a:gd name="T81" fmla="*/ 22 h 543"/>
                <a:gd name="T82" fmla="*/ 17 w 845"/>
                <a:gd name="T83" fmla="*/ 28 h 543"/>
                <a:gd name="T84" fmla="*/ 13 w 845"/>
                <a:gd name="T85" fmla="*/ 33 h 543"/>
                <a:gd name="T86" fmla="*/ 9 w 845"/>
                <a:gd name="T87" fmla="*/ 40 h 543"/>
                <a:gd name="T88" fmla="*/ 6 w 845"/>
                <a:gd name="T89" fmla="*/ 47 h 543"/>
                <a:gd name="T90" fmla="*/ 3 w 845"/>
                <a:gd name="T91" fmla="*/ 53 h 543"/>
                <a:gd name="T92" fmla="*/ 2 w 845"/>
                <a:gd name="T93" fmla="*/ 61 h 543"/>
                <a:gd name="T94" fmla="*/ 1 w 845"/>
                <a:gd name="T95" fmla="*/ 68 h 543"/>
                <a:gd name="T96" fmla="*/ 0 w 845"/>
                <a:gd name="T97" fmla="*/ 75 h 543"/>
                <a:gd name="T98" fmla="*/ 0 w 845"/>
                <a:gd name="T99" fmla="*/ 529 h 543"/>
                <a:gd name="T100" fmla="*/ 0 w 845"/>
                <a:gd name="T101" fmla="*/ 531 h 543"/>
                <a:gd name="T102" fmla="*/ 1 w 845"/>
                <a:gd name="T103" fmla="*/ 534 h 543"/>
                <a:gd name="T104" fmla="*/ 3 w 845"/>
                <a:gd name="T105" fmla="*/ 537 h 543"/>
                <a:gd name="T106" fmla="*/ 4 w 845"/>
                <a:gd name="T107" fmla="*/ 539 h 543"/>
                <a:gd name="T108" fmla="*/ 6 w 845"/>
                <a:gd name="T109" fmla="*/ 541 h 543"/>
                <a:gd name="T110" fmla="*/ 10 w 845"/>
                <a:gd name="T111" fmla="*/ 542 h 543"/>
                <a:gd name="T112" fmla="*/ 12 w 845"/>
                <a:gd name="T113" fmla="*/ 543 h 543"/>
                <a:gd name="T114" fmla="*/ 15 w 845"/>
                <a:gd name="T115" fmla="*/ 543 h 543"/>
                <a:gd name="T116" fmla="*/ 15 w 845"/>
                <a:gd name="T117" fmla="*/ 543 h 5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45" h="543">
                  <a:moveTo>
                    <a:pt x="61" y="61"/>
                  </a:moveTo>
                  <a:lnTo>
                    <a:pt x="784" y="61"/>
                  </a:lnTo>
                  <a:lnTo>
                    <a:pt x="784" y="484"/>
                  </a:lnTo>
                  <a:lnTo>
                    <a:pt x="61" y="484"/>
                  </a:lnTo>
                  <a:lnTo>
                    <a:pt x="61" y="61"/>
                  </a:lnTo>
                  <a:close/>
                  <a:moveTo>
                    <a:pt x="15" y="543"/>
                  </a:moveTo>
                  <a:lnTo>
                    <a:pt x="829" y="543"/>
                  </a:lnTo>
                  <a:lnTo>
                    <a:pt x="833" y="543"/>
                  </a:lnTo>
                  <a:lnTo>
                    <a:pt x="836" y="542"/>
                  </a:lnTo>
                  <a:lnTo>
                    <a:pt x="838" y="541"/>
                  </a:lnTo>
                  <a:lnTo>
                    <a:pt x="840" y="539"/>
                  </a:lnTo>
                  <a:lnTo>
                    <a:pt x="843" y="537"/>
                  </a:lnTo>
                  <a:lnTo>
                    <a:pt x="844" y="534"/>
                  </a:lnTo>
                  <a:lnTo>
                    <a:pt x="845" y="531"/>
                  </a:lnTo>
                  <a:lnTo>
                    <a:pt x="845" y="529"/>
                  </a:lnTo>
                  <a:lnTo>
                    <a:pt x="845" y="75"/>
                  </a:lnTo>
                  <a:lnTo>
                    <a:pt x="845" y="68"/>
                  </a:lnTo>
                  <a:lnTo>
                    <a:pt x="844" y="61"/>
                  </a:lnTo>
                  <a:lnTo>
                    <a:pt x="841" y="53"/>
                  </a:lnTo>
                  <a:lnTo>
                    <a:pt x="839" y="47"/>
                  </a:lnTo>
                  <a:lnTo>
                    <a:pt x="836" y="40"/>
                  </a:lnTo>
                  <a:lnTo>
                    <a:pt x="831" y="33"/>
                  </a:lnTo>
                  <a:lnTo>
                    <a:pt x="827" y="28"/>
                  </a:lnTo>
                  <a:lnTo>
                    <a:pt x="823" y="22"/>
                  </a:lnTo>
                  <a:lnTo>
                    <a:pt x="817" y="18"/>
                  </a:lnTo>
                  <a:lnTo>
                    <a:pt x="812" y="13"/>
                  </a:lnTo>
                  <a:lnTo>
                    <a:pt x="805" y="9"/>
                  </a:lnTo>
                  <a:lnTo>
                    <a:pt x="798" y="7"/>
                  </a:lnTo>
                  <a:lnTo>
                    <a:pt x="792" y="3"/>
                  </a:lnTo>
                  <a:lnTo>
                    <a:pt x="785" y="2"/>
                  </a:lnTo>
                  <a:lnTo>
                    <a:pt x="777" y="1"/>
                  </a:lnTo>
                  <a:lnTo>
                    <a:pt x="770" y="0"/>
                  </a:lnTo>
                  <a:lnTo>
                    <a:pt x="75" y="0"/>
                  </a:lnTo>
                  <a:lnTo>
                    <a:pt x="67" y="0"/>
                  </a:lnTo>
                  <a:lnTo>
                    <a:pt x="61" y="2"/>
                  </a:lnTo>
                  <a:lnTo>
                    <a:pt x="53" y="3"/>
                  </a:lnTo>
                  <a:lnTo>
                    <a:pt x="46" y="7"/>
                  </a:lnTo>
                  <a:lnTo>
                    <a:pt x="39" y="9"/>
                  </a:lnTo>
                  <a:lnTo>
                    <a:pt x="33" y="13"/>
                  </a:lnTo>
                  <a:lnTo>
                    <a:pt x="27" y="18"/>
                  </a:lnTo>
                  <a:lnTo>
                    <a:pt x="22" y="22"/>
                  </a:lnTo>
                  <a:lnTo>
                    <a:pt x="17" y="28"/>
                  </a:lnTo>
                  <a:lnTo>
                    <a:pt x="13" y="33"/>
                  </a:lnTo>
                  <a:lnTo>
                    <a:pt x="9" y="40"/>
                  </a:lnTo>
                  <a:lnTo>
                    <a:pt x="6" y="47"/>
                  </a:lnTo>
                  <a:lnTo>
                    <a:pt x="3" y="53"/>
                  </a:lnTo>
                  <a:lnTo>
                    <a:pt x="2" y="61"/>
                  </a:lnTo>
                  <a:lnTo>
                    <a:pt x="1" y="68"/>
                  </a:lnTo>
                  <a:lnTo>
                    <a:pt x="0" y="75"/>
                  </a:lnTo>
                  <a:lnTo>
                    <a:pt x="0" y="529"/>
                  </a:lnTo>
                  <a:lnTo>
                    <a:pt x="0" y="531"/>
                  </a:lnTo>
                  <a:lnTo>
                    <a:pt x="1" y="534"/>
                  </a:lnTo>
                  <a:lnTo>
                    <a:pt x="3" y="537"/>
                  </a:lnTo>
                  <a:lnTo>
                    <a:pt x="4" y="539"/>
                  </a:lnTo>
                  <a:lnTo>
                    <a:pt x="6" y="541"/>
                  </a:lnTo>
                  <a:lnTo>
                    <a:pt x="10" y="542"/>
                  </a:lnTo>
                  <a:lnTo>
                    <a:pt x="12" y="543"/>
                  </a:lnTo>
                  <a:lnTo>
                    <a:pt x="15" y="543"/>
                  </a:lnTo>
                  <a:lnTo>
                    <a:pt x="15" y="5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6DB8AFE0-8473-D2E4-5477-4E8695CDA0F6}"/>
              </a:ext>
            </a:extLst>
          </p:cNvPr>
          <p:cNvGrpSpPr/>
          <p:nvPr/>
        </p:nvGrpSpPr>
        <p:grpSpPr>
          <a:xfrm>
            <a:off x="9733437" y="3157422"/>
            <a:ext cx="1071644" cy="1029443"/>
            <a:chOff x="10124096" y="3225503"/>
            <a:chExt cx="1071644" cy="1029443"/>
          </a:xfrm>
        </p:grpSpPr>
        <p:sp>
          <p:nvSpPr>
            <p:cNvPr id="47" name="Text Placeholder 1">
              <a:extLst>
                <a:ext uri="{FF2B5EF4-FFF2-40B4-BE49-F238E27FC236}">
                  <a16:creationId xmlns:a16="http://schemas.microsoft.com/office/drawing/2014/main" id="{9D940090-5457-AA50-28A5-AA6CF07AD2C0}"/>
                </a:ext>
              </a:extLst>
            </p:cNvPr>
            <p:cNvSpPr txBox="1">
              <a:spLocks/>
            </p:cNvSpPr>
            <p:nvPr/>
          </p:nvSpPr>
          <p:spPr>
            <a:xfrm>
              <a:off x="10124096" y="3700948"/>
              <a:ext cx="1071644" cy="55399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216000" indent="-216000" algn="l" defTabSz="914378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75000"/>
                <a:buFontTx/>
                <a:buBlip>
                  <a:blip r:embed="rId4"/>
                </a:buBlip>
                <a:defRPr lang="nn-NO" sz="2000" kern="1200" baseline="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2438" indent="-215900" algn="l" defTabSz="914378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75000"/>
                <a:buFontTx/>
                <a:buBlip>
                  <a:blip r:embed="rId5"/>
                </a:buBlip>
                <a:defRPr lang="nn-NO" sz="2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09613" indent="-225425" algn="l" defTabSz="914378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75000"/>
                <a:buFontTx/>
                <a:buBlip>
                  <a:blip r:embed="rId5"/>
                </a:buBlip>
                <a:defRPr lang="nn-NO" sz="2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2350" indent="-236538" algn="l" defTabSz="914378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75000"/>
                <a:buFontTx/>
                <a:buBlip>
                  <a:blip r:embed="rId5"/>
                </a:buBlip>
                <a:defRPr lang="nn-NO" sz="2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64000" indent="0" algn="l" defTabSz="914378" rtl="0" eaLnBrk="1" latinLnBrk="0" hangingPunct="1">
                <a:lnSpc>
                  <a:spcPct val="100000"/>
                </a:lnSpc>
                <a:spcBef>
                  <a:spcPts val="600"/>
                </a:spcBef>
                <a:buClrTx/>
                <a:buSzPct val="100000"/>
                <a:buFont typeface="Arial" panose="020B0604020202020204" pitchFamily="34" charset="0"/>
                <a:buNone/>
                <a:defRPr lang="nn-NO" sz="2000" kern="1200" noProof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537" indent="-228594" algn="l" defTabSz="914378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726" indent="-228594" algn="l" defTabSz="914378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915" indent="-228594" algn="l" defTabSz="914378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103" indent="-228594" algn="l" defTabSz="914378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0" indent="0" algn="ctr">
                <a:spcBef>
                  <a:spcPts val="0"/>
                </a:spcBef>
                <a:buNone/>
              </a:pPr>
              <a:r>
                <a:rPr lang="en-US" sz="1200" b="1">
                  <a:solidFill>
                    <a:schemeClr val="bg1"/>
                  </a:solidFill>
                  <a:effectLst>
                    <a:outerShdw blurRad="215900" sx="102000" sy="102000" algn="ctr" rotWithShape="0">
                      <a:prstClr val="black">
                        <a:alpha val="26000"/>
                      </a:prstClr>
                    </a:outerShdw>
                  </a:effectLst>
                  <a:latin typeface="Oscine" panose="020B0506040202020204" pitchFamily="34" charset="0"/>
                  <a:ea typeface="Open Sans" panose="020B0606030504020204" pitchFamily="34" charset="0"/>
                  <a:cs typeface="Oscine" panose="020B0506040202020204" pitchFamily="34" charset="0"/>
                </a:rPr>
                <a:t>Flexible and global service setup</a:t>
              </a:r>
              <a:endParaRPr lang="en-DK" sz="1200" b="1">
                <a:solidFill>
                  <a:schemeClr val="bg1"/>
                </a:solidFill>
                <a:effectLst>
                  <a:outerShdw blurRad="215900" sx="102000" sy="102000" algn="ctr" rotWithShape="0">
                    <a:prstClr val="black">
                      <a:alpha val="26000"/>
                    </a:prstClr>
                  </a:outerShdw>
                </a:effectLst>
                <a:latin typeface="Oscine" panose="020B0506040202020204" pitchFamily="34" charset="0"/>
                <a:ea typeface="Open Sans" panose="020B0606030504020204" pitchFamily="34" charset="0"/>
                <a:cs typeface="Oscine" panose="020B0506040202020204" pitchFamily="34" charset="0"/>
              </a:endParaRPr>
            </a:p>
          </p:txBody>
        </p: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DC27EA7E-C562-5A15-342B-E96791FF8D5A}"/>
                </a:ext>
              </a:extLst>
            </p:cNvPr>
            <p:cNvGrpSpPr/>
            <p:nvPr/>
          </p:nvGrpSpPr>
          <p:grpSpPr>
            <a:xfrm>
              <a:off x="10487170" y="3225503"/>
              <a:ext cx="392006" cy="394218"/>
              <a:chOff x="2025650" y="5957888"/>
              <a:chExt cx="280988" cy="282575"/>
            </a:xfrm>
            <a:solidFill>
              <a:schemeClr val="bg1"/>
            </a:solidFill>
          </p:grpSpPr>
          <p:sp>
            <p:nvSpPr>
              <p:cNvPr id="49" name="Freeform 1151">
                <a:extLst>
                  <a:ext uri="{FF2B5EF4-FFF2-40B4-BE49-F238E27FC236}">
                    <a16:creationId xmlns:a16="http://schemas.microsoft.com/office/drawing/2014/main" id="{528CF7E5-BD75-D110-BDFB-262BBD1BAB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25650" y="5957888"/>
                <a:ext cx="247650" cy="219075"/>
              </a:xfrm>
              <a:custGeom>
                <a:avLst/>
                <a:gdLst>
                  <a:gd name="T0" fmla="*/ 97 w 627"/>
                  <a:gd name="T1" fmla="*/ 494 h 554"/>
                  <a:gd name="T2" fmla="*/ 93 w 627"/>
                  <a:gd name="T3" fmla="*/ 507 h 554"/>
                  <a:gd name="T4" fmla="*/ 85 w 627"/>
                  <a:gd name="T5" fmla="*/ 518 h 554"/>
                  <a:gd name="T6" fmla="*/ 74 w 627"/>
                  <a:gd name="T7" fmla="*/ 527 h 554"/>
                  <a:gd name="T8" fmla="*/ 61 w 627"/>
                  <a:gd name="T9" fmla="*/ 530 h 554"/>
                  <a:gd name="T10" fmla="*/ 47 w 627"/>
                  <a:gd name="T11" fmla="*/ 527 h 554"/>
                  <a:gd name="T12" fmla="*/ 35 w 627"/>
                  <a:gd name="T13" fmla="*/ 519 h 554"/>
                  <a:gd name="T14" fmla="*/ 27 w 627"/>
                  <a:gd name="T15" fmla="*/ 508 h 554"/>
                  <a:gd name="T16" fmla="*/ 24 w 627"/>
                  <a:gd name="T17" fmla="*/ 494 h 554"/>
                  <a:gd name="T18" fmla="*/ 144 w 627"/>
                  <a:gd name="T19" fmla="*/ 24 h 554"/>
                  <a:gd name="T20" fmla="*/ 145 w 627"/>
                  <a:gd name="T21" fmla="*/ 90 h 554"/>
                  <a:gd name="T22" fmla="*/ 152 w 627"/>
                  <a:gd name="T23" fmla="*/ 96 h 554"/>
                  <a:gd name="T24" fmla="*/ 554 w 627"/>
                  <a:gd name="T25" fmla="*/ 97 h 554"/>
                  <a:gd name="T26" fmla="*/ 109 w 627"/>
                  <a:gd name="T27" fmla="*/ 145 h 554"/>
                  <a:gd name="T28" fmla="*/ 100 w 627"/>
                  <a:gd name="T29" fmla="*/ 149 h 554"/>
                  <a:gd name="T30" fmla="*/ 97 w 627"/>
                  <a:gd name="T31" fmla="*/ 157 h 554"/>
                  <a:gd name="T32" fmla="*/ 383 w 627"/>
                  <a:gd name="T33" fmla="*/ 531 h 554"/>
                  <a:gd name="T34" fmla="*/ 356 w 627"/>
                  <a:gd name="T35" fmla="*/ 504 h 554"/>
                  <a:gd name="T36" fmla="*/ 351 w 627"/>
                  <a:gd name="T37" fmla="*/ 501 h 554"/>
                  <a:gd name="T38" fmla="*/ 349 w 627"/>
                  <a:gd name="T39" fmla="*/ 497 h 554"/>
                  <a:gd name="T40" fmla="*/ 351 w 627"/>
                  <a:gd name="T41" fmla="*/ 488 h 554"/>
                  <a:gd name="T42" fmla="*/ 403 w 627"/>
                  <a:gd name="T43" fmla="*/ 398 h 554"/>
                  <a:gd name="T44" fmla="*/ 413 w 627"/>
                  <a:gd name="T45" fmla="*/ 396 h 554"/>
                  <a:gd name="T46" fmla="*/ 446 w 627"/>
                  <a:gd name="T47" fmla="*/ 414 h 554"/>
                  <a:gd name="T48" fmla="*/ 467 w 627"/>
                  <a:gd name="T49" fmla="*/ 401 h 554"/>
                  <a:gd name="T50" fmla="*/ 488 w 627"/>
                  <a:gd name="T51" fmla="*/ 391 h 554"/>
                  <a:gd name="T52" fmla="*/ 489 w 627"/>
                  <a:gd name="T53" fmla="*/ 357 h 554"/>
                  <a:gd name="T54" fmla="*/ 495 w 627"/>
                  <a:gd name="T55" fmla="*/ 351 h 554"/>
                  <a:gd name="T56" fmla="*/ 596 w 627"/>
                  <a:gd name="T57" fmla="*/ 350 h 554"/>
                  <a:gd name="T58" fmla="*/ 605 w 627"/>
                  <a:gd name="T59" fmla="*/ 353 h 554"/>
                  <a:gd name="T60" fmla="*/ 608 w 627"/>
                  <a:gd name="T61" fmla="*/ 362 h 554"/>
                  <a:gd name="T62" fmla="*/ 618 w 627"/>
                  <a:gd name="T63" fmla="*/ 396 h 554"/>
                  <a:gd name="T64" fmla="*/ 627 w 627"/>
                  <a:gd name="T65" fmla="*/ 157 h 554"/>
                  <a:gd name="T66" fmla="*/ 623 w 627"/>
                  <a:gd name="T67" fmla="*/ 149 h 554"/>
                  <a:gd name="T68" fmla="*/ 615 w 627"/>
                  <a:gd name="T69" fmla="*/ 145 h 554"/>
                  <a:gd name="T70" fmla="*/ 578 w 627"/>
                  <a:gd name="T71" fmla="*/ 85 h 554"/>
                  <a:gd name="T72" fmla="*/ 575 w 627"/>
                  <a:gd name="T73" fmla="*/ 76 h 554"/>
                  <a:gd name="T74" fmla="*/ 567 w 627"/>
                  <a:gd name="T75" fmla="*/ 72 h 554"/>
                  <a:gd name="T76" fmla="*/ 169 w 627"/>
                  <a:gd name="T77" fmla="*/ 12 h 554"/>
                  <a:gd name="T78" fmla="*/ 165 w 627"/>
                  <a:gd name="T79" fmla="*/ 4 h 554"/>
                  <a:gd name="T80" fmla="*/ 157 w 627"/>
                  <a:gd name="T81" fmla="*/ 0 h 554"/>
                  <a:gd name="T82" fmla="*/ 8 w 627"/>
                  <a:gd name="T83" fmla="*/ 1 h 554"/>
                  <a:gd name="T84" fmla="*/ 1 w 627"/>
                  <a:gd name="T85" fmla="*/ 8 h 554"/>
                  <a:gd name="T86" fmla="*/ 0 w 627"/>
                  <a:gd name="T87" fmla="*/ 494 h 554"/>
                  <a:gd name="T88" fmla="*/ 2 w 627"/>
                  <a:gd name="T89" fmla="*/ 506 h 554"/>
                  <a:gd name="T90" fmla="*/ 5 w 627"/>
                  <a:gd name="T91" fmla="*/ 517 h 554"/>
                  <a:gd name="T92" fmla="*/ 11 w 627"/>
                  <a:gd name="T93" fmla="*/ 527 h 554"/>
                  <a:gd name="T94" fmla="*/ 18 w 627"/>
                  <a:gd name="T95" fmla="*/ 536 h 554"/>
                  <a:gd name="T96" fmla="*/ 27 w 627"/>
                  <a:gd name="T97" fmla="*/ 544 h 554"/>
                  <a:gd name="T98" fmla="*/ 37 w 627"/>
                  <a:gd name="T99" fmla="*/ 550 h 554"/>
                  <a:gd name="T100" fmla="*/ 49 w 627"/>
                  <a:gd name="T101" fmla="*/ 553 h 554"/>
                  <a:gd name="T102" fmla="*/ 61 w 627"/>
                  <a:gd name="T103" fmla="*/ 554 h 554"/>
                  <a:gd name="T104" fmla="*/ 383 w 627"/>
                  <a:gd name="T105" fmla="*/ 548 h 5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627" h="554">
                    <a:moveTo>
                      <a:pt x="97" y="157"/>
                    </a:moveTo>
                    <a:lnTo>
                      <a:pt x="97" y="494"/>
                    </a:lnTo>
                    <a:lnTo>
                      <a:pt x="96" y="501"/>
                    </a:lnTo>
                    <a:lnTo>
                      <a:pt x="93" y="507"/>
                    </a:lnTo>
                    <a:lnTo>
                      <a:pt x="90" y="513"/>
                    </a:lnTo>
                    <a:lnTo>
                      <a:pt x="85" y="518"/>
                    </a:lnTo>
                    <a:lnTo>
                      <a:pt x="80" y="523"/>
                    </a:lnTo>
                    <a:lnTo>
                      <a:pt x="74" y="527"/>
                    </a:lnTo>
                    <a:lnTo>
                      <a:pt x="67" y="529"/>
                    </a:lnTo>
                    <a:lnTo>
                      <a:pt x="61" y="530"/>
                    </a:lnTo>
                    <a:lnTo>
                      <a:pt x="54" y="529"/>
                    </a:lnTo>
                    <a:lnTo>
                      <a:pt x="47" y="527"/>
                    </a:lnTo>
                    <a:lnTo>
                      <a:pt x="40" y="524"/>
                    </a:lnTo>
                    <a:lnTo>
                      <a:pt x="35" y="519"/>
                    </a:lnTo>
                    <a:lnTo>
                      <a:pt x="30" y="514"/>
                    </a:lnTo>
                    <a:lnTo>
                      <a:pt x="27" y="508"/>
                    </a:lnTo>
                    <a:lnTo>
                      <a:pt x="25" y="501"/>
                    </a:lnTo>
                    <a:lnTo>
                      <a:pt x="24" y="494"/>
                    </a:lnTo>
                    <a:lnTo>
                      <a:pt x="24" y="24"/>
                    </a:lnTo>
                    <a:lnTo>
                      <a:pt x="144" y="24"/>
                    </a:lnTo>
                    <a:lnTo>
                      <a:pt x="144" y="85"/>
                    </a:lnTo>
                    <a:lnTo>
                      <a:pt x="145" y="90"/>
                    </a:lnTo>
                    <a:lnTo>
                      <a:pt x="149" y="93"/>
                    </a:lnTo>
                    <a:lnTo>
                      <a:pt x="152" y="96"/>
                    </a:lnTo>
                    <a:lnTo>
                      <a:pt x="157" y="97"/>
                    </a:lnTo>
                    <a:lnTo>
                      <a:pt x="554" y="97"/>
                    </a:lnTo>
                    <a:lnTo>
                      <a:pt x="554" y="145"/>
                    </a:lnTo>
                    <a:lnTo>
                      <a:pt x="109" y="145"/>
                    </a:lnTo>
                    <a:lnTo>
                      <a:pt x="104" y="146"/>
                    </a:lnTo>
                    <a:lnTo>
                      <a:pt x="100" y="149"/>
                    </a:lnTo>
                    <a:lnTo>
                      <a:pt x="98" y="152"/>
                    </a:lnTo>
                    <a:lnTo>
                      <a:pt x="97" y="157"/>
                    </a:lnTo>
                    <a:close/>
                    <a:moveTo>
                      <a:pt x="383" y="540"/>
                    </a:moveTo>
                    <a:lnTo>
                      <a:pt x="383" y="531"/>
                    </a:lnTo>
                    <a:lnTo>
                      <a:pt x="384" y="520"/>
                    </a:lnTo>
                    <a:lnTo>
                      <a:pt x="356" y="504"/>
                    </a:lnTo>
                    <a:lnTo>
                      <a:pt x="354" y="503"/>
                    </a:lnTo>
                    <a:lnTo>
                      <a:pt x="351" y="501"/>
                    </a:lnTo>
                    <a:lnTo>
                      <a:pt x="350" y="499"/>
                    </a:lnTo>
                    <a:lnTo>
                      <a:pt x="349" y="497"/>
                    </a:lnTo>
                    <a:lnTo>
                      <a:pt x="349" y="493"/>
                    </a:lnTo>
                    <a:lnTo>
                      <a:pt x="351" y="488"/>
                    </a:lnTo>
                    <a:lnTo>
                      <a:pt x="400" y="401"/>
                    </a:lnTo>
                    <a:lnTo>
                      <a:pt x="403" y="398"/>
                    </a:lnTo>
                    <a:lnTo>
                      <a:pt x="408" y="397"/>
                    </a:lnTo>
                    <a:lnTo>
                      <a:pt x="413" y="396"/>
                    </a:lnTo>
                    <a:lnTo>
                      <a:pt x="417" y="398"/>
                    </a:lnTo>
                    <a:lnTo>
                      <a:pt x="446" y="414"/>
                    </a:lnTo>
                    <a:lnTo>
                      <a:pt x="456" y="407"/>
                    </a:lnTo>
                    <a:lnTo>
                      <a:pt x="467" y="401"/>
                    </a:lnTo>
                    <a:lnTo>
                      <a:pt x="478" y="395"/>
                    </a:lnTo>
                    <a:lnTo>
                      <a:pt x="488" y="391"/>
                    </a:lnTo>
                    <a:lnTo>
                      <a:pt x="488" y="361"/>
                    </a:lnTo>
                    <a:lnTo>
                      <a:pt x="489" y="357"/>
                    </a:lnTo>
                    <a:lnTo>
                      <a:pt x="492" y="353"/>
                    </a:lnTo>
                    <a:lnTo>
                      <a:pt x="495" y="351"/>
                    </a:lnTo>
                    <a:lnTo>
                      <a:pt x="500" y="350"/>
                    </a:lnTo>
                    <a:lnTo>
                      <a:pt x="596" y="350"/>
                    </a:lnTo>
                    <a:lnTo>
                      <a:pt x="601" y="351"/>
                    </a:lnTo>
                    <a:lnTo>
                      <a:pt x="605" y="353"/>
                    </a:lnTo>
                    <a:lnTo>
                      <a:pt x="607" y="357"/>
                    </a:lnTo>
                    <a:lnTo>
                      <a:pt x="608" y="362"/>
                    </a:lnTo>
                    <a:lnTo>
                      <a:pt x="608" y="391"/>
                    </a:lnTo>
                    <a:lnTo>
                      <a:pt x="618" y="396"/>
                    </a:lnTo>
                    <a:lnTo>
                      <a:pt x="627" y="401"/>
                    </a:lnTo>
                    <a:lnTo>
                      <a:pt x="627" y="157"/>
                    </a:lnTo>
                    <a:lnTo>
                      <a:pt x="626" y="152"/>
                    </a:lnTo>
                    <a:lnTo>
                      <a:pt x="623" y="149"/>
                    </a:lnTo>
                    <a:lnTo>
                      <a:pt x="619" y="146"/>
                    </a:lnTo>
                    <a:lnTo>
                      <a:pt x="615" y="145"/>
                    </a:lnTo>
                    <a:lnTo>
                      <a:pt x="578" y="145"/>
                    </a:lnTo>
                    <a:lnTo>
                      <a:pt x="578" y="85"/>
                    </a:lnTo>
                    <a:lnTo>
                      <a:pt x="577" y="81"/>
                    </a:lnTo>
                    <a:lnTo>
                      <a:pt x="575" y="76"/>
                    </a:lnTo>
                    <a:lnTo>
                      <a:pt x="571" y="73"/>
                    </a:lnTo>
                    <a:lnTo>
                      <a:pt x="567" y="72"/>
                    </a:lnTo>
                    <a:lnTo>
                      <a:pt x="169" y="72"/>
                    </a:lnTo>
                    <a:lnTo>
                      <a:pt x="169" y="12"/>
                    </a:lnTo>
                    <a:lnTo>
                      <a:pt x="168" y="8"/>
                    </a:lnTo>
                    <a:lnTo>
                      <a:pt x="165" y="4"/>
                    </a:lnTo>
                    <a:lnTo>
                      <a:pt x="162" y="1"/>
                    </a:lnTo>
                    <a:lnTo>
                      <a:pt x="157" y="0"/>
                    </a:lnTo>
                    <a:lnTo>
                      <a:pt x="12" y="0"/>
                    </a:lnTo>
                    <a:lnTo>
                      <a:pt x="8" y="1"/>
                    </a:lnTo>
                    <a:lnTo>
                      <a:pt x="4" y="4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0" y="494"/>
                    </a:lnTo>
                    <a:lnTo>
                      <a:pt x="1" y="500"/>
                    </a:lnTo>
                    <a:lnTo>
                      <a:pt x="2" y="506"/>
                    </a:lnTo>
                    <a:lnTo>
                      <a:pt x="3" y="512"/>
                    </a:lnTo>
                    <a:lnTo>
                      <a:pt x="5" y="517"/>
                    </a:lnTo>
                    <a:lnTo>
                      <a:pt x="8" y="522"/>
                    </a:lnTo>
                    <a:lnTo>
                      <a:pt x="11" y="527"/>
                    </a:lnTo>
                    <a:lnTo>
                      <a:pt x="14" y="532"/>
                    </a:lnTo>
                    <a:lnTo>
                      <a:pt x="18" y="536"/>
                    </a:lnTo>
                    <a:lnTo>
                      <a:pt x="22" y="540"/>
                    </a:lnTo>
                    <a:lnTo>
                      <a:pt x="27" y="544"/>
                    </a:lnTo>
                    <a:lnTo>
                      <a:pt x="32" y="547"/>
                    </a:lnTo>
                    <a:lnTo>
                      <a:pt x="37" y="550"/>
                    </a:lnTo>
                    <a:lnTo>
                      <a:pt x="43" y="552"/>
                    </a:lnTo>
                    <a:lnTo>
                      <a:pt x="49" y="553"/>
                    </a:lnTo>
                    <a:lnTo>
                      <a:pt x="55" y="554"/>
                    </a:lnTo>
                    <a:lnTo>
                      <a:pt x="61" y="554"/>
                    </a:lnTo>
                    <a:lnTo>
                      <a:pt x="383" y="554"/>
                    </a:lnTo>
                    <a:lnTo>
                      <a:pt x="383" y="548"/>
                    </a:lnTo>
                    <a:lnTo>
                      <a:pt x="383" y="5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1152">
                <a:extLst>
                  <a:ext uri="{FF2B5EF4-FFF2-40B4-BE49-F238E27FC236}">
                    <a16:creationId xmlns:a16="http://schemas.microsoft.com/office/drawing/2014/main" id="{BF7C5009-784B-1EB4-07C5-06BED0195A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74875" y="6105525"/>
                <a:ext cx="131763" cy="134938"/>
              </a:xfrm>
              <a:custGeom>
                <a:avLst/>
                <a:gdLst>
                  <a:gd name="T0" fmla="*/ 150 w 331"/>
                  <a:gd name="T1" fmla="*/ 245 h 338"/>
                  <a:gd name="T2" fmla="*/ 128 w 331"/>
                  <a:gd name="T3" fmla="*/ 237 h 338"/>
                  <a:gd name="T4" fmla="*/ 110 w 331"/>
                  <a:gd name="T5" fmla="*/ 224 h 338"/>
                  <a:gd name="T6" fmla="*/ 97 w 331"/>
                  <a:gd name="T7" fmla="*/ 205 h 338"/>
                  <a:gd name="T8" fmla="*/ 89 w 331"/>
                  <a:gd name="T9" fmla="*/ 184 h 338"/>
                  <a:gd name="T10" fmla="*/ 88 w 331"/>
                  <a:gd name="T11" fmla="*/ 160 h 338"/>
                  <a:gd name="T12" fmla="*/ 94 w 331"/>
                  <a:gd name="T13" fmla="*/ 138 h 338"/>
                  <a:gd name="T14" fmla="*/ 105 w 331"/>
                  <a:gd name="T15" fmla="*/ 120 h 338"/>
                  <a:gd name="T16" fmla="*/ 122 w 331"/>
                  <a:gd name="T17" fmla="*/ 104 h 338"/>
                  <a:gd name="T18" fmla="*/ 143 w 331"/>
                  <a:gd name="T19" fmla="*/ 94 h 338"/>
                  <a:gd name="T20" fmla="*/ 165 w 331"/>
                  <a:gd name="T21" fmla="*/ 91 h 338"/>
                  <a:gd name="T22" fmla="*/ 189 w 331"/>
                  <a:gd name="T23" fmla="*/ 94 h 338"/>
                  <a:gd name="T24" fmla="*/ 209 w 331"/>
                  <a:gd name="T25" fmla="*/ 104 h 338"/>
                  <a:gd name="T26" fmla="*/ 226 w 331"/>
                  <a:gd name="T27" fmla="*/ 120 h 338"/>
                  <a:gd name="T28" fmla="*/ 238 w 331"/>
                  <a:gd name="T29" fmla="*/ 138 h 338"/>
                  <a:gd name="T30" fmla="*/ 244 w 331"/>
                  <a:gd name="T31" fmla="*/ 160 h 338"/>
                  <a:gd name="T32" fmla="*/ 242 w 331"/>
                  <a:gd name="T33" fmla="*/ 184 h 338"/>
                  <a:gd name="T34" fmla="*/ 235 w 331"/>
                  <a:gd name="T35" fmla="*/ 205 h 338"/>
                  <a:gd name="T36" fmla="*/ 221 w 331"/>
                  <a:gd name="T37" fmla="*/ 224 h 338"/>
                  <a:gd name="T38" fmla="*/ 203 w 331"/>
                  <a:gd name="T39" fmla="*/ 237 h 338"/>
                  <a:gd name="T40" fmla="*/ 181 w 331"/>
                  <a:gd name="T41" fmla="*/ 245 h 338"/>
                  <a:gd name="T42" fmla="*/ 306 w 331"/>
                  <a:gd name="T43" fmla="*/ 206 h 338"/>
                  <a:gd name="T44" fmla="*/ 300 w 331"/>
                  <a:gd name="T45" fmla="*/ 197 h 338"/>
                  <a:gd name="T46" fmla="*/ 302 w 331"/>
                  <a:gd name="T47" fmla="*/ 167 h 338"/>
                  <a:gd name="T48" fmla="*/ 300 w 331"/>
                  <a:gd name="T49" fmla="*/ 140 h 338"/>
                  <a:gd name="T50" fmla="*/ 306 w 331"/>
                  <a:gd name="T51" fmla="*/ 131 h 338"/>
                  <a:gd name="T52" fmla="*/ 268 w 331"/>
                  <a:gd name="T53" fmla="*/ 66 h 338"/>
                  <a:gd name="T54" fmla="*/ 258 w 331"/>
                  <a:gd name="T55" fmla="*/ 67 h 338"/>
                  <a:gd name="T56" fmla="*/ 242 w 331"/>
                  <a:gd name="T57" fmla="*/ 53 h 338"/>
                  <a:gd name="T58" fmla="*/ 214 w 331"/>
                  <a:gd name="T59" fmla="*/ 37 h 338"/>
                  <a:gd name="T60" fmla="*/ 207 w 331"/>
                  <a:gd name="T61" fmla="*/ 29 h 338"/>
                  <a:gd name="T62" fmla="*/ 135 w 331"/>
                  <a:gd name="T63" fmla="*/ 0 h 338"/>
                  <a:gd name="T64" fmla="*/ 133 w 331"/>
                  <a:gd name="T65" fmla="*/ 32 h 338"/>
                  <a:gd name="T66" fmla="*/ 113 w 331"/>
                  <a:gd name="T67" fmla="*/ 42 h 338"/>
                  <a:gd name="T68" fmla="*/ 77 w 331"/>
                  <a:gd name="T69" fmla="*/ 64 h 338"/>
                  <a:gd name="T70" fmla="*/ 66 w 331"/>
                  <a:gd name="T71" fmla="*/ 67 h 338"/>
                  <a:gd name="T72" fmla="*/ 0 w 331"/>
                  <a:gd name="T73" fmla="*/ 116 h 338"/>
                  <a:gd name="T74" fmla="*/ 31 w 331"/>
                  <a:gd name="T75" fmla="*/ 136 h 338"/>
                  <a:gd name="T76" fmla="*/ 30 w 331"/>
                  <a:gd name="T77" fmla="*/ 156 h 338"/>
                  <a:gd name="T78" fmla="*/ 32 w 331"/>
                  <a:gd name="T79" fmla="*/ 193 h 338"/>
                  <a:gd name="T80" fmla="*/ 29 w 331"/>
                  <a:gd name="T81" fmla="*/ 204 h 338"/>
                  <a:gd name="T82" fmla="*/ 38 w 331"/>
                  <a:gd name="T83" fmla="*/ 286 h 338"/>
                  <a:gd name="T84" fmla="*/ 70 w 331"/>
                  <a:gd name="T85" fmla="*/ 269 h 338"/>
                  <a:gd name="T86" fmla="*/ 89 w 331"/>
                  <a:gd name="T87" fmla="*/ 281 h 338"/>
                  <a:gd name="T88" fmla="*/ 139 w 331"/>
                  <a:gd name="T89" fmla="*/ 303 h 338"/>
                  <a:gd name="T90" fmla="*/ 146 w 331"/>
                  <a:gd name="T91" fmla="*/ 310 h 338"/>
                  <a:gd name="T92" fmla="*/ 207 w 331"/>
                  <a:gd name="T93" fmla="*/ 338 h 338"/>
                  <a:gd name="T94" fmla="*/ 209 w 331"/>
                  <a:gd name="T95" fmla="*/ 307 h 338"/>
                  <a:gd name="T96" fmla="*/ 222 w 331"/>
                  <a:gd name="T97" fmla="*/ 299 h 338"/>
                  <a:gd name="T98" fmla="*/ 245 w 331"/>
                  <a:gd name="T99" fmla="*/ 281 h 338"/>
                  <a:gd name="T100" fmla="*/ 258 w 331"/>
                  <a:gd name="T101" fmla="*/ 270 h 338"/>
                  <a:gd name="T102" fmla="*/ 268 w 331"/>
                  <a:gd name="T103" fmla="*/ 271 h 338"/>
                  <a:gd name="T104" fmla="*/ 306 w 331"/>
                  <a:gd name="T105" fmla="*/ 206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31" h="338">
                    <a:moveTo>
                      <a:pt x="165" y="246"/>
                    </a:moveTo>
                    <a:lnTo>
                      <a:pt x="158" y="246"/>
                    </a:lnTo>
                    <a:lnTo>
                      <a:pt x="150" y="245"/>
                    </a:lnTo>
                    <a:lnTo>
                      <a:pt x="143" y="243"/>
                    </a:lnTo>
                    <a:lnTo>
                      <a:pt x="136" y="240"/>
                    </a:lnTo>
                    <a:lnTo>
                      <a:pt x="128" y="237"/>
                    </a:lnTo>
                    <a:lnTo>
                      <a:pt x="122" y="233"/>
                    </a:lnTo>
                    <a:lnTo>
                      <a:pt x="116" y="229"/>
                    </a:lnTo>
                    <a:lnTo>
                      <a:pt x="110" y="224"/>
                    </a:lnTo>
                    <a:lnTo>
                      <a:pt x="105" y="217"/>
                    </a:lnTo>
                    <a:lnTo>
                      <a:pt x="101" y="211"/>
                    </a:lnTo>
                    <a:lnTo>
                      <a:pt x="97" y="205"/>
                    </a:lnTo>
                    <a:lnTo>
                      <a:pt x="94" y="198"/>
                    </a:lnTo>
                    <a:lnTo>
                      <a:pt x="91" y="191"/>
                    </a:lnTo>
                    <a:lnTo>
                      <a:pt x="89" y="184"/>
                    </a:lnTo>
                    <a:lnTo>
                      <a:pt x="88" y="176"/>
                    </a:lnTo>
                    <a:lnTo>
                      <a:pt x="88" y="167"/>
                    </a:lnTo>
                    <a:lnTo>
                      <a:pt x="88" y="160"/>
                    </a:lnTo>
                    <a:lnTo>
                      <a:pt x="89" y="152"/>
                    </a:lnTo>
                    <a:lnTo>
                      <a:pt x="91" y="145"/>
                    </a:lnTo>
                    <a:lnTo>
                      <a:pt x="94" y="138"/>
                    </a:lnTo>
                    <a:lnTo>
                      <a:pt x="97" y="132"/>
                    </a:lnTo>
                    <a:lnTo>
                      <a:pt x="101" y="125"/>
                    </a:lnTo>
                    <a:lnTo>
                      <a:pt x="105" y="120"/>
                    </a:lnTo>
                    <a:lnTo>
                      <a:pt x="110" y="113"/>
                    </a:lnTo>
                    <a:lnTo>
                      <a:pt x="116" y="108"/>
                    </a:lnTo>
                    <a:lnTo>
                      <a:pt x="122" y="104"/>
                    </a:lnTo>
                    <a:lnTo>
                      <a:pt x="128" y="100"/>
                    </a:lnTo>
                    <a:lnTo>
                      <a:pt x="136" y="97"/>
                    </a:lnTo>
                    <a:lnTo>
                      <a:pt x="143" y="94"/>
                    </a:lnTo>
                    <a:lnTo>
                      <a:pt x="150" y="92"/>
                    </a:lnTo>
                    <a:lnTo>
                      <a:pt x="158" y="91"/>
                    </a:lnTo>
                    <a:lnTo>
                      <a:pt x="165" y="91"/>
                    </a:lnTo>
                    <a:lnTo>
                      <a:pt x="173" y="91"/>
                    </a:lnTo>
                    <a:lnTo>
                      <a:pt x="181" y="92"/>
                    </a:lnTo>
                    <a:lnTo>
                      <a:pt x="189" y="94"/>
                    </a:lnTo>
                    <a:lnTo>
                      <a:pt x="196" y="97"/>
                    </a:lnTo>
                    <a:lnTo>
                      <a:pt x="203" y="100"/>
                    </a:lnTo>
                    <a:lnTo>
                      <a:pt x="209" y="104"/>
                    </a:lnTo>
                    <a:lnTo>
                      <a:pt x="215" y="108"/>
                    </a:lnTo>
                    <a:lnTo>
                      <a:pt x="221" y="113"/>
                    </a:lnTo>
                    <a:lnTo>
                      <a:pt x="226" y="120"/>
                    </a:lnTo>
                    <a:lnTo>
                      <a:pt x="230" y="125"/>
                    </a:lnTo>
                    <a:lnTo>
                      <a:pt x="235" y="132"/>
                    </a:lnTo>
                    <a:lnTo>
                      <a:pt x="238" y="138"/>
                    </a:lnTo>
                    <a:lnTo>
                      <a:pt x="241" y="145"/>
                    </a:lnTo>
                    <a:lnTo>
                      <a:pt x="242" y="152"/>
                    </a:lnTo>
                    <a:lnTo>
                      <a:pt x="244" y="160"/>
                    </a:lnTo>
                    <a:lnTo>
                      <a:pt x="244" y="167"/>
                    </a:lnTo>
                    <a:lnTo>
                      <a:pt x="244" y="176"/>
                    </a:lnTo>
                    <a:lnTo>
                      <a:pt x="242" y="184"/>
                    </a:lnTo>
                    <a:lnTo>
                      <a:pt x="241" y="191"/>
                    </a:lnTo>
                    <a:lnTo>
                      <a:pt x="238" y="198"/>
                    </a:lnTo>
                    <a:lnTo>
                      <a:pt x="235" y="205"/>
                    </a:lnTo>
                    <a:lnTo>
                      <a:pt x="230" y="211"/>
                    </a:lnTo>
                    <a:lnTo>
                      <a:pt x="226" y="217"/>
                    </a:lnTo>
                    <a:lnTo>
                      <a:pt x="221" y="224"/>
                    </a:lnTo>
                    <a:lnTo>
                      <a:pt x="215" y="229"/>
                    </a:lnTo>
                    <a:lnTo>
                      <a:pt x="209" y="233"/>
                    </a:lnTo>
                    <a:lnTo>
                      <a:pt x="203" y="237"/>
                    </a:lnTo>
                    <a:lnTo>
                      <a:pt x="196" y="240"/>
                    </a:lnTo>
                    <a:lnTo>
                      <a:pt x="189" y="243"/>
                    </a:lnTo>
                    <a:lnTo>
                      <a:pt x="181" y="245"/>
                    </a:lnTo>
                    <a:lnTo>
                      <a:pt x="173" y="246"/>
                    </a:lnTo>
                    <a:lnTo>
                      <a:pt x="165" y="246"/>
                    </a:lnTo>
                    <a:close/>
                    <a:moveTo>
                      <a:pt x="306" y="206"/>
                    </a:moveTo>
                    <a:lnTo>
                      <a:pt x="303" y="204"/>
                    </a:lnTo>
                    <a:lnTo>
                      <a:pt x="301" y="201"/>
                    </a:lnTo>
                    <a:lnTo>
                      <a:pt x="300" y="197"/>
                    </a:lnTo>
                    <a:lnTo>
                      <a:pt x="300" y="193"/>
                    </a:lnTo>
                    <a:lnTo>
                      <a:pt x="302" y="181"/>
                    </a:lnTo>
                    <a:lnTo>
                      <a:pt x="302" y="167"/>
                    </a:lnTo>
                    <a:lnTo>
                      <a:pt x="302" y="156"/>
                    </a:lnTo>
                    <a:lnTo>
                      <a:pt x="300" y="144"/>
                    </a:lnTo>
                    <a:lnTo>
                      <a:pt x="300" y="140"/>
                    </a:lnTo>
                    <a:lnTo>
                      <a:pt x="301" y="136"/>
                    </a:lnTo>
                    <a:lnTo>
                      <a:pt x="303" y="133"/>
                    </a:lnTo>
                    <a:lnTo>
                      <a:pt x="306" y="131"/>
                    </a:lnTo>
                    <a:lnTo>
                      <a:pt x="331" y="116"/>
                    </a:lnTo>
                    <a:lnTo>
                      <a:pt x="294" y="51"/>
                    </a:lnTo>
                    <a:lnTo>
                      <a:pt x="268" y="66"/>
                    </a:lnTo>
                    <a:lnTo>
                      <a:pt x="265" y="67"/>
                    </a:lnTo>
                    <a:lnTo>
                      <a:pt x="261" y="68"/>
                    </a:lnTo>
                    <a:lnTo>
                      <a:pt x="258" y="67"/>
                    </a:lnTo>
                    <a:lnTo>
                      <a:pt x="255" y="64"/>
                    </a:lnTo>
                    <a:lnTo>
                      <a:pt x="251" y="60"/>
                    </a:lnTo>
                    <a:lnTo>
                      <a:pt x="242" y="53"/>
                    </a:lnTo>
                    <a:lnTo>
                      <a:pt x="232" y="47"/>
                    </a:lnTo>
                    <a:lnTo>
                      <a:pt x="223" y="41"/>
                    </a:lnTo>
                    <a:lnTo>
                      <a:pt x="214" y="37"/>
                    </a:lnTo>
                    <a:lnTo>
                      <a:pt x="211" y="35"/>
                    </a:lnTo>
                    <a:lnTo>
                      <a:pt x="209" y="32"/>
                    </a:lnTo>
                    <a:lnTo>
                      <a:pt x="207" y="29"/>
                    </a:lnTo>
                    <a:lnTo>
                      <a:pt x="207" y="25"/>
                    </a:lnTo>
                    <a:lnTo>
                      <a:pt x="207" y="0"/>
                    </a:lnTo>
                    <a:lnTo>
                      <a:pt x="135" y="0"/>
                    </a:lnTo>
                    <a:lnTo>
                      <a:pt x="135" y="25"/>
                    </a:lnTo>
                    <a:lnTo>
                      <a:pt x="134" y="29"/>
                    </a:lnTo>
                    <a:lnTo>
                      <a:pt x="133" y="32"/>
                    </a:lnTo>
                    <a:lnTo>
                      <a:pt x="129" y="35"/>
                    </a:lnTo>
                    <a:lnTo>
                      <a:pt x="126" y="37"/>
                    </a:lnTo>
                    <a:lnTo>
                      <a:pt x="113" y="42"/>
                    </a:lnTo>
                    <a:lnTo>
                      <a:pt x="100" y="49"/>
                    </a:lnTo>
                    <a:lnTo>
                      <a:pt x="88" y="57"/>
                    </a:lnTo>
                    <a:lnTo>
                      <a:pt x="77" y="64"/>
                    </a:lnTo>
                    <a:lnTo>
                      <a:pt x="74" y="67"/>
                    </a:lnTo>
                    <a:lnTo>
                      <a:pt x="70" y="68"/>
                    </a:lnTo>
                    <a:lnTo>
                      <a:pt x="66" y="67"/>
                    </a:lnTo>
                    <a:lnTo>
                      <a:pt x="63" y="66"/>
                    </a:lnTo>
                    <a:lnTo>
                      <a:pt x="38" y="51"/>
                    </a:lnTo>
                    <a:lnTo>
                      <a:pt x="0" y="116"/>
                    </a:lnTo>
                    <a:lnTo>
                      <a:pt x="25" y="131"/>
                    </a:lnTo>
                    <a:lnTo>
                      <a:pt x="29" y="133"/>
                    </a:lnTo>
                    <a:lnTo>
                      <a:pt x="31" y="136"/>
                    </a:lnTo>
                    <a:lnTo>
                      <a:pt x="32" y="140"/>
                    </a:lnTo>
                    <a:lnTo>
                      <a:pt x="32" y="144"/>
                    </a:lnTo>
                    <a:lnTo>
                      <a:pt x="30" y="156"/>
                    </a:lnTo>
                    <a:lnTo>
                      <a:pt x="29" y="167"/>
                    </a:lnTo>
                    <a:lnTo>
                      <a:pt x="30" y="181"/>
                    </a:lnTo>
                    <a:lnTo>
                      <a:pt x="32" y="193"/>
                    </a:lnTo>
                    <a:lnTo>
                      <a:pt x="32" y="197"/>
                    </a:lnTo>
                    <a:lnTo>
                      <a:pt x="31" y="201"/>
                    </a:lnTo>
                    <a:lnTo>
                      <a:pt x="29" y="204"/>
                    </a:lnTo>
                    <a:lnTo>
                      <a:pt x="25" y="206"/>
                    </a:lnTo>
                    <a:lnTo>
                      <a:pt x="0" y="221"/>
                    </a:lnTo>
                    <a:lnTo>
                      <a:pt x="38" y="286"/>
                    </a:lnTo>
                    <a:lnTo>
                      <a:pt x="63" y="271"/>
                    </a:lnTo>
                    <a:lnTo>
                      <a:pt x="66" y="269"/>
                    </a:lnTo>
                    <a:lnTo>
                      <a:pt x="70" y="269"/>
                    </a:lnTo>
                    <a:lnTo>
                      <a:pt x="74" y="270"/>
                    </a:lnTo>
                    <a:lnTo>
                      <a:pt x="77" y="273"/>
                    </a:lnTo>
                    <a:lnTo>
                      <a:pt x="89" y="281"/>
                    </a:lnTo>
                    <a:lnTo>
                      <a:pt x="105" y="289"/>
                    </a:lnTo>
                    <a:lnTo>
                      <a:pt x="122" y="296"/>
                    </a:lnTo>
                    <a:lnTo>
                      <a:pt x="139" y="303"/>
                    </a:lnTo>
                    <a:lnTo>
                      <a:pt x="142" y="304"/>
                    </a:lnTo>
                    <a:lnTo>
                      <a:pt x="144" y="307"/>
                    </a:lnTo>
                    <a:lnTo>
                      <a:pt x="146" y="310"/>
                    </a:lnTo>
                    <a:lnTo>
                      <a:pt x="147" y="313"/>
                    </a:lnTo>
                    <a:lnTo>
                      <a:pt x="147" y="338"/>
                    </a:lnTo>
                    <a:lnTo>
                      <a:pt x="207" y="338"/>
                    </a:lnTo>
                    <a:lnTo>
                      <a:pt x="207" y="313"/>
                    </a:lnTo>
                    <a:lnTo>
                      <a:pt x="207" y="310"/>
                    </a:lnTo>
                    <a:lnTo>
                      <a:pt x="209" y="307"/>
                    </a:lnTo>
                    <a:lnTo>
                      <a:pt x="211" y="304"/>
                    </a:lnTo>
                    <a:lnTo>
                      <a:pt x="214" y="303"/>
                    </a:lnTo>
                    <a:lnTo>
                      <a:pt x="222" y="299"/>
                    </a:lnTo>
                    <a:lnTo>
                      <a:pt x="230" y="294"/>
                    </a:lnTo>
                    <a:lnTo>
                      <a:pt x="238" y="288"/>
                    </a:lnTo>
                    <a:lnTo>
                      <a:pt x="245" y="281"/>
                    </a:lnTo>
                    <a:lnTo>
                      <a:pt x="250" y="277"/>
                    </a:lnTo>
                    <a:lnTo>
                      <a:pt x="255" y="273"/>
                    </a:lnTo>
                    <a:lnTo>
                      <a:pt x="258" y="270"/>
                    </a:lnTo>
                    <a:lnTo>
                      <a:pt x="261" y="269"/>
                    </a:lnTo>
                    <a:lnTo>
                      <a:pt x="265" y="269"/>
                    </a:lnTo>
                    <a:lnTo>
                      <a:pt x="268" y="271"/>
                    </a:lnTo>
                    <a:lnTo>
                      <a:pt x="294" y="286"/>
                    </a:lnTo>
                    <a:lnTo>
                      <a:pt x="331" y="221"/>
                    </a:lnTo>
                    <a:lnTo>
                      <a:pt x="306" y="20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3C8E3A5-C0AD-B919-CEEC-2E501C0F76DD}"/>
              </a:ext>
            </a:extLst>
          </p:cNvPr>
          <p:cNvGrpSpPr/>
          <p:nvPr/>
        </p:nvGrpSpPr>
        <p:grpSpPr>
          <a:xfrm>
            <a:off x="7147723" y="1732826"/>
            <a:ext cx="376587" cy="152649"/>
            <a:chOff x="4813537" y="3329235"/>
            <a:chExt cx="358811" cy="128393"/>
          </a:xfrm>
          <a:solidFill>
            <a:schemeClr val="bg1"/>
          </a:solidFill>
        </p:grpSpPr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4C5E61B1-07EA-4256-80D7-B803CD4E6100}"/>
                </a:ext>
              </a:extLst>
            </p:cNvPr>
            <p:cNvSpPr/>
            <p:nvPr/>
          </p:nvSpPr>
          <p:spPr>
            <a:xfrm>
              <a:off x="4813537" y="3329235"/>
              <a:ext cx="358811" cy="105914"/>
            </a:xfrm>
            <a:custGeom>
              <a:avLst/>
              <a:gdLst>
                <a:gd name="connsiteX0" fmla="*/ 180385 w 358811"/>
                <a:gd name="connsiteY0" fmla="*/ 205 h 105914"/>
                <a:gd name="connsiteX1" fmla="*/ 321546 w 358811"/>
                <a:gd name="connsiteY1" fmla="*/ 205 h 105914"/>
                <a:gd name="connsiteX2" fmla="*/ 335548 w 358811"/>
                <a:gd name="connsiteY2" fmla="*/ 6587 h 105914"/>
                <a:gd name="connsiteX3" fmla="*/ 351550 w 358811"/>
                <a:gd name="connsiteY3" fmla="*/ 13826 h 105914"/>
                <a:gd name="connsiteX4" fmla="*/ 358979 w 358811"/>
                <a:gd name="connsiteY4" fmla="*/ 22494 h 105914"/>
                <a:gd name="connsiteX5" fmla="*/ 358979 w 358811"/>
                <a:gd name="connsiteY5" fmla="*/ 53164 h 105914"/>
                <a:gd name="connsiteX6" fmla="*/ 347740 w 358811"/>
                <a:gd name="connsiteY6" fmla="*/ 64594 h 105914"/>
                <a:gd name="connsiteX7" fmla="*/ 289637 w 358811"/>
                <a:gd name="connsiteY7" fmla="*/ 64594 h 105914"/>
                <a:gd name="connsiteX8" fmla="*/ 251537 w 358811"/>
                <a:gd name="connsiteY8" fmla="*/ 97741 h 105914"/>
                <a:gd name="connsiteX9" fmla="*/ 243155 w 358811"/>
                <a:gd name="connsiteY9" fmla="*/ 105456 h 105914"/>
                <a:gd name="connsiteX10" fmla="*/ 107710 w 358811"/>
                <a:gd name="connsiteY10" fmla="*/ 105456 h 105914"/>
                <a:gd name="connsiteX11" fmla="*/ 99042 w 358811"/>
                <a:gd name="connsiteY11" fmla="*/ 96979 h 105914"/>
                <a:gd name="connsiteX12" fmla="*/ 62847 w 358811"/>
                <a:gd name="connsiteY12" fmla="*/ 64594 h 105914"/>
                <a:gd name="connsiteX13" fmla="*/ 13888 w 358811"/>
                <a:gd name="connsiteY13" fmla="*/ 64594 h 105914"/>
                <a:gd name="connsiteX14" fmla="*/ 1887 w 358811"/>
                <a:gd name="connsiteY14" fmla="*/ 52593 h 105914"/>
                <a:gd name="connsiteX15" fmla="*/ 1887 w 358811"/>
                <a:gd name="connsiteY15" fmla="*/ 43068 h 105914"/>
                <a:gd name="connsiteX16" fmla="*/ 27890 w 358811"/>
                <a:gd name="connsiteY16" fmla="*/ 872 h 105914"/>
                <a:gd name="connsiteX17" fmla="*/ 38939 w 358811"/>
                <a:gd name="connsiteY17" fmla="*/ -176 h 105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58811" h="105914">
                  <a:moveTo>
                    <a:pt x="180385" y="205"/>
                  </a:moveTo>
                  <a:cubicBezTo>
                    <a:pt x="227439" y="205"/>
                    <a:pt x="274492" y="205"/>
                    <a:pt x="321546" y="205"/>
                  </a:cubicBezTo>
                  <a:cubicBezTo>
                    <a:pt x="327261" y="205"/>
                    <a:pt x="332119" y="205"/>
                    <a:pt x="335548" y="6587"/>
                  </a:cubicBezTo>
                  <a:cubicBezTo>
                    <a:pt x="338977" y="12969"/>
                    <a:pt x="345549" y="13445"/>
                    <a:pt x="351550" y="13826"/>
                  </a:cubicBezTo>
                  <a:cubicBezTo>
                    <a:pt x="357550" y="14207"/>
                    <a:pt x="359074" y="16969"/>
                    <a:pt x="358979" y="22494"/>
                  </a:cubicBezTo>
                  <a:cubicBezTo>
                    <a:pt x="358979" y="32686"/>
                    <a:pt x="358979" y="42972"/>
                    <a:pt x="358979" y="53164"/>
                  </a:cubicBezTo>
                  <a:cubicBezTo>
                    <a:pt x="358979" y="61546"/>
                    <a:pt x="356122" y="64785"/>
                    <a:pt x="347740" y="64594"/>
                  </a:cubicBezTo>
                  <a:cubicBezTo>
                    <a:pt x="328690" y="64594"/>
                    <a:pt x="308973" y="64594"/>
                    <a:pt x="289637" y="64594"/>
                  </a:cubicBezTo>
                  <a:cubicBezTo>
                    <a:pt x="265825" y="64594"/>
                    <a:pt x="254776" y="74119"/>
                    <a:pt x="251537" y="97741"/>
                  </a:cubicBezTo>
                  <a:cubicBezTo>
                    <a:pt x="250775" y="103456"/>
                    <a:pt x="249061" y="105456"/>
                    <a:pt x="243155" y="105456"/>
                  </a:cubicBezTo>
                  <a:cubicBezTo>
                    <a:pt x="198007" y="105456"/>
                    <a:pt x="152858" y="105456"/>
                    <a:pt x="107710" y="105456"/>
                  </a:cubicBezTo>
                  <a:cubicBezTo>
                    <a:pt x="101233" y="105456"/>
                    <a:pt x="99709" y="103170"/>
                    <a:pt x="99042" y="96979"/>
                  </a:cubicBezTo>
                  <a:cubicBezTo>
                    <a:pt x="97042" y="75548"/>
                    <a:pt x="84564" y="64785"/>
                    <a:pt x="62847" y="64594"/>
                  </a:cubicBezTo>
                  <a:cubicBezTo>
                    <a:pt x="46464" y="64594"/>
                    <a:pt x="30176" y="64594"/>
                    <a:pt x="13888" y="64594"/>
                  </a:cubicBezTo>
                  <a:cubicBezTo>
                    <a:pt x="4363" y="64594"/>
                    <a:pt x="1315" y="61165"/>
                    <a:pt x="1887" y="52593"/>
                  </a:cubicBezTo>
                  <a:cubicBezTo>
                    <a:pt x="2401" y="49440"/>
                    <a:pt x="2401" y="46220"/>
                    <a:pt x="1887" y="43068"/>
                  </a:cubicBezTo>
                  <a:cubicBezTo>
                    <a:pt x="-5543" y="19065"/>
                    <a:pt x="12650" y="10683"/>
                    <a:pt x="27890" y="872"/>
                  </a:cubicBezTo>
                  <a:cubicBezTo>
                    <a:pt x="31424" y="-414"/>
                    <a:pt x="35224" y="-776"/>
                    <a:pt x="38939" y="-17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E8A6DA69-B66D-0E63-D190-17F7FD2EBDCE}"/>
                </a:ext>
              </a:extLst>
            </p:cNvPr>
            <p:cNvSpPr/>
            <p:nvPr/>
          </p:nvSpPr>
          <p:spPr>
            <a:xfrm>
              <a:off x="5076525" y="3403285"/>
              <a:ext cx="54391" cy="54343"/>
            </a:xfrm>
            <a:custGeom>
              <a:avLst/>
              <a:gdLst>
                <a:gd name="connsiteX0" fmla="*/ 26748 w 54391"/>
                <a:gd name="connsiteY0" fmla="*/ -407 h 54343"/>
                <a:gd name="connsiteX1" fmla="*/ 54513 w 54391"/>
                <a:gd name="connsiteY1" fmla="*/ 24111 h 54343"/>
                <a:gd name="connsiteX2" fmla="*/ 54561 w 54391"/>
                <a:gd name="connsiteY2" fmla="*/ 26073 h 54343"/>
                <a:gd name="connsiteX3" fmla="*/ 27415 w 54391"/>
                <a:gd name="connsiteY3" fmla="*/ 53886 h 54343"/>
                <a:gd name="connsiteX4" fmla="*/ 173 w 54391"/>
                <a:gd name="connsiteY4" fmla="*/ 26168 h 54343"/>
                <a:gd name="connsiteX5" fmla="*/ 26176 w 54391"/>
                <a:gd name="connsiteY5" fmla="*/ -407 h 54343"/>
                <a:gd name="connsiteX6" fmla="*/ 26748 w 54391"/>
                <a:gd name="connsiteY6" fmla="*/ -407 h 54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4391" h="54343">
                  <a:moveTo>
                    <a:pt x="26748" y="-407"/>
                  </a:moveTo>
                  <a:cubicBezTo>
                    <a:pt x="41188" y="-1302"/>
                    <a:pt x="53618" y="9681"/>
                    <a:pt x="54513" y="24111"/>
                  </a:cubicBezTo>
                  <a:cubicBezTo>
                    <a:pt x="54551" y="24768"/>
                    <a:pt x="54570" y="25416"/>
                    <a:pt x="54561" y="26073"/>
                  </a:cubicBezTo>
                  <a:cubicBezTo>
                    <a:pt x="54561" y="41180"/>
                    <a:pt x="42512" y="53524"/>
                    <a:pt x="27415" y="53886"/>
                  </a:cubicBezTo>
                  <a:cubicBezTo>
                    <a:pt x="12355" y="53476"/>
                    <a:pt x="325" y="41227"/>
                    <a:pt x="173" y="26168"/>
                  </a:cubicBezTo>
                  <a:cubicBezTo>
                    <a:pt x="11" y="11652"/>
                    <a:pt x="11651" y="-245"/>
                    <a:pt x="26176" y="-407"/>
                  </a:cubicBezTo>
                  <a:cubicBezTo>
                    <a:pt x="26367" y="-407"/>
                    <a:pt x="26557" y="-407"/>
                    <a:pt x="26748" y="-40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5DCC20B8-4610-D4F0-2A52-2D9BD8DB79D9}"/>
                </a:ext>
              </a:extLst>
            </p:cNvPr>
            <p:cNvSpPr/>
            <p:nvPr/>
          </p:nvSpPr>
          <p:spPr>
            <a:xfrm>
              <a:off x="4833446" y="3403304"/>
              <a:ext cx="54415" cy="54324"/>
            </a:xfrm>
            <a:custGeom>
              <a:avLst/>
              <a:gdLst>
                <a:gd name="connsiteX0" fmla="*/ 27797 w 54415"/>
                <a:gd name="connsiteY0" fmla="*/ -426 h 54324"/>
                <a:gd name="connsiteX1" fmla="*/ 54581 w 54415"/>
                <a:gd name="connsiteY1" fmla="*/ 25359 h 54324"/>
                <a:gd name="connsiteX2" fmla="*/ 54562 w 54415"/>
                <a:gd name="connsiteY2" fmla="*/ 27006 h 54324"/>
                <a:gd name="connsiteX3" fmla="*/ 27702 w 54415"/>
                <a:gd name="connsiteY3" fmla="*/ 53867 h 54324"/>
                <a:gd name="connsiteX4" fmla="*/ 175 w 54415"/>
                <a:gd name="connsiteY4" fmla="*/ 26340 h 54324"/>
                <a:gd name="connsiteX5" fmla="*/ 26149 w 54415"/>
                <a:gd name="connsiteY5" fmla="*/ -454 h 54324"/>
                <a:gd name="connsiteX6" fmla="*/ 27797 w 54415"/>
                <a:gd name="connsiteY6" fmla="*/ -426 h 54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4415" h="54324">
                  <a:moveTo>
                    <a:pt x="27797" y="-426"/>
                  </a:moveTo>
                  <a:cubicBezTo>
                    <a:pt x="42313" y="-702"/>
                    <a:pt x="54305" y="10843"/>
                    <a:pt x="54581" y="25359"/>
                  </a:cubicBezTo>
                  <a:cubicBezTo>
                    <a:pt x="54591" y="25911"/>
                    <a:pt x="54591" y="26454"/>
                    <a:pt x="54562" y="27006"/>
                  </a:cubicBezTo>
                  <a:cubicBezTo>
                    <a:pt x="54115" y="41656"/>
                    <a:pt x="42351" y="53419"/>
                    <a:pt x="27702" y="53867"/>
                  </a:cubicBezTo>
                  <a:cubicBezTo>
                    <a:pt x="12729" y="53324"/>
                    <a:pt x="718" y="41313"/>
                    <a:pt x="175" y="26340"/>
                  </a:cubicBezTo>
                  <a:cubicBezTo>
                    <a:pt x="-54" y="11766"/>
                    <a:pt x="11576" y="-226"/>
                    <a:pt x="26149" y="-454"/>
                  </a:cubicBezTo>
                  <a:cubicBezTo>
                    <a:pt x="26692" y="-464"/>
                    <a:pt x="27245" y="-454"/>
                    <a:pt x="27797" y="-42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548B13B4-88BF-705A-8183-682D594D59EC}"/>
              </a:ext>
            </a:extLst>
          </p:cNvPr>
          <p:cNvGrpSpPr/>
          <p:nvPr/>
        </p:nvGrpSpPr>
        <p:grpSpPr>
          <a:xfrm>
            <a:off x="7524310" y="1891763"/>
            <a:ext cx="378438" cy="194713"/>
            <a:chOff x="4813541" y="3250936"/>
            <a:chExt cx="359069" cy="206692"/>
          </a:xfrm>
          <a:solidFill>
            <a:schemeClr val="bg1"/>
          </a:solidFill>
        </p:grpSpPr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3628BF11-8340-DA89-6BCD-1D8198F258A7}"/>
                </a:ext>
              </a:extLst>
            </p:cNvPr>
            <p:cNvSpPr/>
            <p:nvPr/>
          </p:nvSpPr>
          <p:spPr>
            <a:xfrm>
              <a:off x="4813541" y="3329235"/>
              <a:ext cx="358811" cy="105914"/>
            </a:xfrm>
            <a:custGeom>
              <a:avLst/>
              <a:gdLst>
                <a:gd name="connsiteX0" fmla="*/ 180385 w 358811"/>
                <a:gd name="connsiteY0" fmla="*/ 205 h 105914"/>
                <a:gd name="connsiteX1" fmla="*/ 321546 w 358811"/>
                <a:gd name="connsiteY1" fmla="*/ 205 h 105914"/>
                <a:gd name="connsiteX2" fmla="*/ 335548 w 358811"/>
                <a:gd name="connsiteY2" fmla="*/ 6587 h 105914"/>
                <a:gd name="connsiteX3" fmla="*/ 351550 w 358811"/>
                <a:gd name="connsiteY3" fmla="*/ 13826 h 105914"/>
                <a:gd name="connsiteX4" fmla="*/ 358979 w 358811"/>
                <a:gd name="connsiteY4" fmla="*/ 22494 h 105914"/>
                <a:gd name="connsiteX5" fmla="*/ 358979 w 358811"/>
                <a:gd name="connsiteY5" fmla="*/ 53164 h 105914"/>
                <a:gd name="connsiteX6" fmla="*/ 347740 w 358811"/>
                <a:gd name="connsiteY6" fmla="*/ 64594 h 105914"/>
                <a:gd name="connsiteX7" fmla="*/ 289637 w 358811"/>
                <a:gd name="connsiteY7" fmla="*/ 64594 h 105914"/>
                <a:gd name="connsiteX8" fmla="*/ 251537 w 358811"/>
                <a:gd name="connsiteY8" fmla="*/ 97741 h 105914"/>
                <a:gd name="connsiteX9" fmla="*/ 243155 w 358811"/>
                <a:gd name="connsiteY9" fmla="*/ 105456 h 105914"/>
                <a:gd name="connsiteX10" fmla="*/ 107710 w 358811"/>
                <a:gd name="connsiteY10" fmla="*/ 105456 h 105914"/>
                <a:gd name="connsiteX11" fmla="*/ 99042 w 358811"/>
                <a:gd name="connsiteY11" fmla="*/ 96979 h 105914"/>
                <a:gd name="connsiteX12" fmla="*/ 62847 w 358811"/>
                <a:gd name="connsiteY12" fmla="*/ 64594 h 105914"/>
                <a:gd name="connsiteX13" fmla="*/ 13888 w 358811"/>
                <a:gd name="connsiteY13" fmla="*/ 64594 h 105914"/>
                <a:gd name="connsiteX14" fmla="*/ 1887 w 358811"/>
                <a:gd name="connsiteY14" fmla="*/ 52593 h 105914"/>
                <a:gd name="connsiteX15" fmla="*/ 1887 w 358811"/>
                <a:gd name="connsiteY15" fmla="*/ 43068 h 105914"/>
                <a:gd name="connsiteX16" fmla="*/ 27890 w 358811"/>
                <a:gd name="connsiteY16" fmla="*/ 872 h 105914"/>
                <a:gd name="connsiteX17" fmla="*/ 38939 w 358811"/>
                <a:gd name="connsiteY17" fmla="*/ -176 h 105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58811" h="105914">
                  <a:moveTo>
                    <a:pt x="180385" y="205"/>
                  </a:moveTo>
                  <a:cubicBezTo>
                    <a:pt x="227439" y="205"/>
                    <a:pt x="274492" y="205"/>
                    <a:pt x="321546" y="205"/>
                  </a:cubicBezTo>
                  <a:cubicBezTo>
                    <a:pt x="327261" y="205"/>
                    <a:pt x="332119" y="205"/>
                    <a:pt x="335548" y="6587"/>
                  </a:cubicBezTo>
                  <a:cubicBezTo>
                    <a:pt x="338977" y="12969"/>
                    <a:pt x="345549" y="13445"/>
                    <a:pt x="351550" y="13826"/>
                  </a:cubicBezTo>
                  <a:cubicBezTo>
                    <a:pt x="357550" y="14207"/>
                    <a:pt x="359074" y="16969"/>
                    <a:pt x="358979" y="22494"/>
                  </a:cubicBezTo>
                  <a:cubicBezTo>
                    <a:pt x="358979" y="32686"/>
                    <a:pt x="358979" y="42972"/>
                    <a:pt x="358979" y="53164"/>
                  </a:cubicBezTo>
                  <a:cubicBezTo>
                    <a:pt x="358979" y="61546"/>
                    <a:pt x="356122" y="64785"/>
                    <a:pt x="347740" y="64594"/>
                  </a:cubicBezTo>
                  <a:cubicBezTo>
                    <a:pt x="328690" y="64594"/>
                    <a:pt x="308973" y="64594"/>
                    <a:pt x="289637" y="64594"/>
                  </a:cubicBezTo>
                  <a:cubicBezTo>
                    <a:pt x="265825" y="64594"/>
                    <a:pt x="254776" y="74119"/>
                    <a:pt x="251537" y="97741"/>
                  </a:cubicBezTo>
                  <a:cubicBezTo>
                    <a:pt x="250775" y="103456"/>
                    <a:pt x="249061" y="105456"/>
                    <a:pt x="243155" y="105456"/>
                  </a:cubicBezTo>
                  <a:cubicBezTo>
                    <a:pt x="198007" y="105456"/>
                    <a:pt x="152858" y="105456"/>
                    <a:pt x="107710" y="105456"/>
                  </a:cubicBezTo>
                  <a:cubicBezTo>
                    <a:pt x="101233" y="105456"/>
                    <a:pt x="99709" y="103170"/>
                    <a:pt x="99042" y="96979"/>
                  </a:cubicBezTo>
                  <a:cubicBezTo>
                    <a:pt x="97042" y="75548"/>
                    <a:pt x="84564" y="64785"/>
                    <a:pt x="62847" y="64594"/>
                  </a:cubicBezTo>
                  <a:cubicBezTo>
                    <a:pt x="46464" y="64594"/>
                    <a:pt x="30176" y="64594"/>
                    <a:pt x="13888" y="64594"/>
                  </a:cubicBezTo>
                  <a:cubicBezTo>
                    <a:pt x="4363" y="64594"/>
                    <a:pt x="1315" y="61165"/>
                    <a:pt x="1887" y="52593"/>
                  </a:cubicBezTo>
                  <a:cubicBezTo>
                    <a:pt x="2401" y="49440"/>
                    <a:pt x="2401" y="46220"/>
                    <a:pt x="1887" y="43068"/>
                  </a:cubicBezTo>
                  <a:cubicBezTo>
                    <a:pt x="-5543" y="19065"/>
                    <a:pt x="12650" y="10683"/>
                    <a:pt x="27890" y="872"/>
                  </a:cubicBezTo>
                  <a:cubicBezTo>
                    <a:pt x="31424" y="-414"/>
                    <a:pt x="35224" y="-776"/>
                    <a:pt x="38939" y="-17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2E6774AD-12B9-676A-FB78-41D694D05305}"/>
                </a:ext>
              </a:extLst>
            </p:cNvPr>
            <p:cNvSpPr/>
            <p:nvPr/>
          </p:nvSpPr>
          <p:spPr>
            <a:xfrm>
              <a:off x="4815298" y="3250936"/>
              <a:ext cx="357312" cy="70391"/>
            </a:xfrm>
            <a:custGeom>
              <a:avLst/>
              <a:gdLst>
                <a:gd name="connsiteX0" fmla="*/ 179867 w 357312"/>
                <a:gd name="connsiteY0" fmla="*/ -458 h 70391"/>
                <a:gd name="connsiteX1" fmla="*/ 345983 w 357312"/>
                <a:gd name="connsiteY1" fmla="*/ -458 h 70391"/>
                <a:gd name="connsiteX2" fmla="*/ 357413 w 357312"/>
                <a:gd name="connsiteY2" fmla="*/ 10972 h 70391"/>
                <a:gd name="connsiteX3" fmla="*/ 357413 w 357312"/>
                <a:gd name="connsiteY3" fmla="*/ 56502 h 70391"/>
                <a:gd name="connsiteX4" fmla="*/ 344459 w 357312"/>
                <a:gd name="connsiteY4" fmla="*/ 69932 h 70391"/>
                <a:gd name="connsiteX5" fmla="*/ 164627 w 357312"/>
                <a:gd name="connsiteY5" fmla="*/ 69932 h 70391"/>
                <a:gd name="connsiteX6" fmla="*/ 11084 w 357312"/>
                <a:gd name="connsiteY6" fmla="*/ 69932 h 70391"/>
                <a:gd name="connsiteX7" fmla="*/ 225 w 357312"/>
                <a:gd name="connsiteY7" fmla="*/ 59074 h 70391"/>
                <a:gd name="connsiteX8" fmla="*/ 225 w 357312"/>
                <a:gd name="connsiteY8" fmla="*/ 12401 h 70391"/>
                <a:gd name="connsiteX9" fmla="*/ 12703 w 357312"/>
                <a:gd name="connsiteY9" fmla="*/ -362 h 70391"/>
                <a:gd name="connsiteX10" fmla="*/ 179867 w 357312"/>
                <a:gd name="connsiteY10" fmla="*/ -458 h 70391"/>
                <a:gd name="connsiteX11" fmla="*/ 256067 w 357312"/>
                <a:gd name="connsiteY11" fmla="*/ 56692 h 70391"/>
                <a:gd name="connsiteX12" fmla="*/ 278450 w 357312"/>
                <a:gd name="connsiteY12" fmla="*/ 56692 h 70391"/>
                <a:gd name="connsiteX13" fmla="*/ 314169 w 357312"/>
                <a:gd name="connsiteY13" fmla="*/ 18592 h 70391"/>
                <a:gd name="connsiteX14" fmla="*/ 305978 w 357312"/>
                <a:gd name="connsiteY14" fmla="*/ 10877 h 70391"/>
                <a:gd name="connsiteX15" fmla="*/ 208156 w 357312"/>
                <a:gd name="connsiteY15" fmla="*/ 10877 h 70391"/>
                <a:gd name="connsiteX16" fmla="*/ 199964 w 357312"/>
                <a:gd name="connsiteY16" fmla="*/ 18402 h 70391"/>
                <a:gd name="connsiteX17" fmla="*/ 199964 w 357312"/>
                <a:gd name="connsiteY17" fmla="*/ 49072 h 70391"/>
                <a:gd name="connsiteX18" fmla="*/ 207965 w 357312"/>
                <a:gd name="connsiteY18" fmla="*/ 56788 h 70391"/>
                <a:gd name="connsiteX19" fmla="*/ 256067 w 357312"/>
                <a:gd name="connsiteY19" fmla="*/ 56788 h 70391"/>
                <a:gd name="connsiteX20" fmla="*/ 96142 w 357312"/>
                <a:gd name="connsiteY20" fmla="*/ 10972 h 70391"/>
                <a:gd name="connsiteX21" fmla="*/ 51755 w 357312"/>
                <a:gd name="connsiteY21" fmla="*/ 10972 h 70391"/>
                <a:gd name="connsiteX22" fmla="*/ 43088 w 357312"/>
                <a:gd name="connsiteY22" fmla="*/ 19164 h 70391"/>
                <a:gd name="connsiteX23" fmla="*/ 43088 w 357312"/>
                <a:gd name="connsiteY23" fmla="*/ 48787 h 70391"/>
                <a:gd name="connsiteX24" fmla="*/ 50708 w 357312"/>
                <a:gd name="connsiteY24" fmla="*/ 56883 h 70391"/>
                <a:gd name="connsiteX25" fmla="*/ 140528 w 357312"/>
                <a:gd name="connsiteY25" fmla="*/ 56883 h 70391"/>
                <a:gd name="connsiteX26" fmla="*/ 148148 w 357312"/>
                <a:gd name="connsiteY26" fmla="*/ 48596 h 70391"/>
                <a:gd name="connsiteX27" fmla="*/ 148148 w 357312"/>
                <a:gd name="connsiteY27" fmla="*/ 19069 h 70391"/>
                <a:gd name="connsiteX28" fmla="*/ 139290 w 357312"/>
                <a:gd name="connsiteY28" fmla="*/ 10972 h 70391"/>
                <a:gd name="connsiteX29" fmla="*/ 96142 w 357312"/>
                <a:gd name="connsiteY29" fmla="*/ 11068 h 70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57312" h="70391">
                  <a:moveTo>
                    <a:pt x="179867" y="-458"/>
                  </a:moveTo>
                  <a:cubicBezTo>
                    <a:pt x="235207" y="-458"/>
                    <a:pt x="290642" y="-458"/>
                    <a:pt x="345983" y="-458"/>
                  </a:cubicBezTo>
                  <a:cubicBezTo>
                    <a:pt x="355031" y="-458"/>
                    <a:pt x="357794" y="2019"/>
                    <a:pt x="357413" y="10972"/>
                  </a:cubicBezTo>
                  <a:cubicBezTo>
                    <a:pt x="356603" y="26136"/>
                    <a:pt x="356603" y="41338"/>
                    <a:pt x="357413" y="56502"/>
                  </a:cubicBezTo>
                  <a:cubicBezTo>
                    <a:pt x="357984" y="66694"/>
                    <a:pt x="355222" y="70027"/>
                    <a:pt x="344459" y="69932"/>
                  </a:cubicBezTo>
                  <a:cubicBezTo>
                    <a:pt x="284546" y="69361"/>
                    <a:pt x="224539" y="69932"/>
                    <a:pt x="164627" y="69932"/>
                  </a:cubicBezTo>
                  <a:cubicBezTo>
                    <a:pt x="113477" y="69932"/>
                    <a:pt x="62233" y="69932"/>
                    <a:pt x="11084" y="69932"/>
                  </a:cubicBezTo>
                  <a:cubicBezTo>
                    <a:pt x="2511" y="69932"/>
                    <a:pt x="-156" y="67551"/>
                    <a:pt x="225" y="59074"/>
                  </a:cubicBezTo>
                  <a:cubicBezTo>
                    <a:pt x="892" y="43548"/>
                    <a:pt x="987" y="27927"/>
                    <a:pt x="225" y="12401"/>
                  </a:cubicBezTo>
                  <a:cubicBezTo>
                    <a:pt x="-251" y="2876"/>
                    <a:pt x="2321" y="-458"/>
                    <a:pt x="12703" y="-362"/>
                  </a:cubicBezTo>
                  <a:cubicBezTo>
                    <a:pt x="68329" y="-172"/>
                    <a:pt x="124145" y="-458"/>
                    <a:pt x="179867" y="-458"/>
                  </a:cubicBezTo>
                  <a:close/>
                  <a:moveTo>
                    <a:pt x="256067" y="56692"/>
                  </a:moveTo>
                  <a:lnTo>
                    <a:pt x="278450" y="56692"/>
                  </a:lnTo>
                  <a:cubicBezTo>
                    <a:pt x="316550" y="56692"/>
                    <a:pt x="316550" y="56692"/>
                    <a:pt x="314169" y="18592"/>
                  </a:cubicBezTo>
                  <a:cubicBezTo>
                    <a:pt x="314169" y="12496"/>
                    <a:pt x="311597" y="10877"/>
                    <a:pt x="305978" y="10877"/>
                  </a:cubicBezTo>
                  <a:cubicBezTo>
                    <a:pt x="273402" y="10877"/>
                    <a:pt x="240798" y="10877"/>
                    <a:pt x="208156" y="10877"/>
                  </a:cubicBezTo>
                  <a:cubicBezTo>
                    <a:pt x="202727" y="10877"/>
                    <a:pt x="199679" y="11925"/>
                    <a:pt x="199964" y="18402"/>
                  </a:cubicBezTo>
                  <a:cubicBezTo>
                    <a:pt x="199964" y="28594"/>
                    <a:pt x="199964" y="38881"/>
                    <a:pt x="199964" y="49072"/>
                  </a:cubicBezTo>
                  <a:cubicBezTo>
                    <a:pt x="199964" y="55168"/>
                    <a:pt x="202250" y="56883"/>
                    <a:pt x="207965" y="56788"/>
                  </a:cubicBezTo>
                  <a:cubicBezTo>
                    <a:pt x="224158" y="56597"/>
                    <a:pt x="240350" y="56788"/>
                    <a:pt x="256067" y="56788"/>
                  </a:cubicBezTo>
                  <a:close/>
                  <a:moveTo>
                    <a:pt x="96142" y="10972"/>
                  </a:moveTo>
                  <a:cubicBezTo>
                    <a:pt x="81283" y="10972"/>
                    <a:pt x="66519" y="10972"/>
                    <a:pt x="51755" y="10972"/>
                  </a:cubicBezTo>
                  <a:cubicBezTo>
                    <a:pt x="45659" y="10972"/>
                    <a:pt x="42802" y="12496"/>
                    <a:pt x="43088" y="19164"/>
                  </a:cubicBezTo>
                  <a:cubicBezTo>
                    <a:pt x="43564" y="28689"/>
                    <a:pt x="43088" y="38881"/>
                    <a:pt x="43088" y="48787"/>
                  </a:cubicBezTo>
                  <a:cubicBezTo>
                    <a:pt x="43088" y="54406"/>
                    <a:pt x="44516" y="56978"/>
                    <a:pt x="50708" y="56883"/>
                  </a:cubicBezTo>
                  <a:cubicBezTo>
                    <a:pt x="80683" y="56883"/>
                    <a:pt x="110620" y="56883"/>
                    <a:pt x="140528" y="56883"/>
                  </a:cubicBezTo>
                  <a:cubicBezTo>
                    <a:pt x="146815" y="56883"/>
                    <a:pt x="148244" y="54216"/>
                    <a:pt x="148148" y="48596"/>
                  </a:cubicBezTo>
                  <a:cubicBezTo>
                    <a:pt x="148148" y="39071"/>
                    <a:pt x="148148" y="28879"/>
                    <a:pt x="148148" y="19069"/>
                  </a:cubicBezTo>
                  <a:cubicBezTo>
                    <a:pt x="148148" y="12211"/>
                    <a:pt x="145291" y="10877"/>
                    <a:pt x="139290" y="10972"/>
                  </a:cubicBezTo>
                  <a:cubicBezTo>
                    <a:pt x="124907" y="11258"/>
                    <a:pt x="110525" y="11068"/>
                    <a:pt x="96142" y="1106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23810944-6079-6EC0-B179-FC6366FB7971}"/>
                </a:ext>
              </a:extLst>
            </p:cNvPr>
            <p:cNvSpPr/>
            <p:nvPr/>
          </p:nvSpPr>
          <p:spPr>
            <a:xfrm>
              <a:off x="5076525" y="3403285"/>
              <a:ext cx="54391" cy="54343"/>
            </a:xfrm>
            <a:custGeom>
              <a:avLst/>
              <a:gdLst>
                <a:gd name="connsiteX0" fmla="*/ 26748 w 54391"/>
                <a:gd name="connsiteY0" fmla="*/ -407 h 54343"/>
                <a:gd name="connsiteX1" fmla="*/ 54513 w 54391"/>
                <a:gd name="connsiteY1" fmla="*/ 24111 h 54343"/>
                <a:gd name="connsiteX2" fmla="*/ 54561 w 54391"/>
                <a:gd name="connsiteY2" fmla="*/ 26073 h 54343"/>
                <a:gd name="connsiteX3" fmla="*/ 27415 w 54391"/>
                <a:gd name="connsiteY3" fmla="*/ 53886 h 54343"/>
                <a:gd name="connsiteX4" fmla="*/ 173 w 54391"/>
                <a:gd name="connsiteY4" fmla="*/ 26168 h 54343"/>
                <a:gd name="connsiteX5" fmla="*/ 26176 w 54391"/>
                <a:gd name="connsiteY5" fmla="*/ -407 h 54343"/>
                <a:gd name="connsiteX6" fmla="*/ 26748 w 54391"/>
                <a:gd name="connsiteY6" fmla="*/ -407 h 54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4391" h="54343">
                  <a:moveTo>
                    <a:pt x="26748" y="-407"/>
                  </a:moveTo>
                  <a:cubicBezTo>
                    <a:pt x="41188" y="-1302"/>
                    <a:pt x="53618" y="9681"/>
                    <a:pt x="54513" y="24111"/>
                  </a:cubicBezTo>
                  <a:cubicBezTo>
                    <a:pt x="54551" y="24768"/>
                    <a:pt x="54570" y="25416"/>
                    <a:pt x="54561" y="26073"/>
                  </a:cubicBezTo>
                  <a:cubicBezTo>
                    <a:pt x="54561" y="41180"/>
                    <a:pt x="42512" y="53524"/>
                    <a:pt x="27415" y="53886"/>
                  </a:cubicBezTo>
                  <a:cubicBezTo>
                    <a:pt x="12355" y="53476"/>
                    <a:pt x="325" y="41227"/>
                    <a:pt x="173" y="26168"/>
                  </a:cubicBezTo>
                  <a:cubicBezTo>
                    <a:pt x="11" y="11652"/>
                    <a:pt x="11651" y="-245"/>
                    <a:pt x="26176" y="-407"/>
                  </a:cubicBezTo>
                  <a:cubicBezTo>
                    <a:pt x="26367" y="-407"/>
                    <a:pt x="26557" y="-407"/>
                    <a:pt x="26748" y="-40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59CF82F8-D714-5B0F-A5A8-0EC745F470C6}"/>
                </a:ext>
              </a:extLst>
            </p:cNvPr>
            <p:cNvSpPr/>
            <p:nvPr/>
          </p:nvSpPr>
          <p:spPr>
            <a:xfrm>
              <a:off x="4833446" y="3403304"/>
              <a:ext cx="54415" cy="54324"/>
            </a:xfrm>
            <a:custGeom>
              <a:avLst/>
              <a:gdLst>
                <a:gd name="connsiteX0" fmla="*/ 27797 w 54415"/>
                <a:gd name="connsiteY0" fmla="*/ -426 h 54324"/>
                <a:gd name="connsiteX1" fmla="*/ 54581 w 54415"/>
                <a:gd name="connsiteY1" fmla="*/ 25359 h 54324"/>
                <a:gd name="connsiteX2" fmla="*/ 54562 w 54415"/>
                <a:gd name="connsiteY2" fmla="*/ 27006 h 54324"/>
                <a:gd name="connsiteX3" fmla="*/ 27702 w 54415"/>
                <a:gd name="connsiteY3" fmla="*/ 53867 h 54324"/>
                <a:gd name="connsiteX4" fmla="*/ 175 w 54415"/>
                <a:gd name="connsiteY4" fmla="*/ 26340 h 54324"/>
                <a:gd name="connsiteX5" fmla="*/ 26149 w 54415"/>
                <a:gd name="connsiteY5" fmla="*/ -454 h 54324"/>
                <a:gd name="connsiteX6" fmla="*/ 27797 w 54415"/>
                <a:gd name="connsiteY6" fmla="*/ -426 h 54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4415" h="54324">
                  <a:moveTo>
                    <a:pt x="27797" y="-426"/>
                  </a:moveTo>
                  <a:cubicBezTo>
                    <a:pt x="42313" y="-702"/>
                    <a:pt x="54305" y="10843"/>
                    <a:pt x="54581" y="25359"/>
                  </a:cubicBezTo>
                  <a:cubicBezTo>
                    <a:pt x="54591" y="25911"/>
                    <a:pt x="54591" y="26454"/>
                    <a:pt x="54562" y="27006"/>
                  </a:cubicBezTo>
                  <a:cubicBezTo>
                    <a:pt x="54115" y="41656"/>
                    <a:pt x="42351" y="53419"/>
                    <a:pt x="27702" y="53867"/>
                  </a:cubicBezTo>
                  <a:cubicBezTo>
                    <a:pt x="12729" y="53324"/>
                    <a:pt x="718" y="41313"/>
                    <a:pt x="175" y="26340"/>
                  </a:cubicBezTo>
                  <a:cubicBezTo>
                    <a:pt x="-54" y="11766"/>
                    <a:pt x="11576" y="-226"/>
                    <a:pt x="26149" y="-454"/>
                  </a:cubicBezTo>
                  <a:cubicBezTo>
                    <a:pt x="26692" y="-464"/>
                    <a:pt x="27245" y="-454"/>
                    <a:pt x="27797" y="-42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60" name="Picture 59" descr="Icon&#10;&#10;Description automatically generated with low confidence">
            <a:extLst>
              <a:ext uri="{FF2B5EF4-FFF2-40B4-BE49-F238E27FC236}">
                <a16:creationId xmlns:a16="http://schemas.microsoft.com/office/drawing/2014/main" id="{4FB7B31A-0EB9-1BBE-1818-A4D24D95713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1943" y="1371513"/>
            <a:ext cx="621190" cy="528703"/>
          </a:xfrm>
          <a:prstGeom prst="rect">
            <a:avLst/>
          </a:prstGeom>
        </p:spPr>
      </p:pic>
      <p:pic>
        <p:nvPicPr>
          <p:cNvPr id="61" name="Picture 60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D155851F-AA26-82DA-E81C-DA579D83A960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626" t="44494" r="48681" b="40848"/>
          <a:stretch/>
        </p:blipFill>
        <p:spPr>
          <a:xfrm>
            <a:off x="8854757" y="4716496"/>
            <a:ext cx="925348" cy="382238"/>
          </a:xfrm>
          <a:prstGeom prst="rect">
            <a:avLst/>
          </a:prstGeom>
        </p:spPr>
      </p:pic>
      <p:sp>
        <p:nvSpPr>
          <p:cNvPr id="62" name="Text Placeholder 1">
            <a:extLst>
              <a:ext uri="{FF2B5EF4-FFF2-40B4-BE49-F238E27FC236}">
                <a16:creationId xmlns:a16="http://schemas.microsoft.com/office/drawing/2014/main" id="{BEFE5FE0-F096-7530-380D-DF8C0C267C1D}"/>
              </a:ext>
            </a:extLst>
          </p:cNvPr>
          <p:cNvSpPr txBox="1">
            <a:spLocks/>
          </p:cNvSpPr>
          <p:nvPr/>
        </p:nvSpPr>
        <p:spPr>
          <a:xfrm>
            <a:off x="603937" y="2155949"/>
            <a:ext cx="4756535" cy="3708000"/>
          </a:xfrm>
          <a:prstGeom prst="rect">
            <a:avLst/>
          </a:prstGeom>
        </p:spPr>
        <p:txBody>
          <a:bodyPr/>
          <a:lstStyle>
            <a:lvl1pPr marL="216000" indent="-21600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4"/>
              </a:buBlip>
              <a:defRPr lang="nn-NO" sz="1800" kern="1200" baseline="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2438" indent="-21590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5"/>
              </a:buBlip>
              <a:defRPr lang="nn-NO" sz="1800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709613" indent="-225425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5"/>
              </a:buBlip>
              <a:defRPr lang="nn-NO" sz="1800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1022350" indent="-236538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Blip>
                <a:blip r:embed="rId5"/>
              </a:buBlip>
              <a:defRPr lang="nn-NO" sz="1800" kern="1200" noProof="0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864000" indent="0" algn="l" defTabSz="914378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SzPct val="100000"/>
              <a:buFont typeface="Arial" panose="020B0604020202020204" pitchFamily="34" charset="0"/>
              <a:buNone/>
              <a:defRPr lang="nn-NO" sz="18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5900" indent="-215900"/>
            <a:r>
              <a:rPr lang="en-US" dirty="0"/>
              <a:t>Expertise in what it takes to run large AMR fleets safely and reliably</a:t>
            </a:r>
            <a:endParaRPr lang="en-US" sz="2400" dirty="0"/>
          </a:p>
          <a:p>
            <a:pPr marL="452120" lvl="1"/>
            <a:r>
              <a:rPr lang="en-US" b="1" dirty="0"/>
              <a:t>Reliability</a:t>
            </a:r>
            <a:r>
              <a:rPr lang="en-US" dirty="0"/>
              <a:t>: +7000 Install base and capability to enable large fleets around the world &amp; more than 9 years in the market</a:t>
            </a:r>
            <a:endParaRPr lang="en-US" dirty="0">
              <a:cs typeface="Calibri"/>
            </a:endParaRPr>
          </a:p>
          <a:p>
            <a:pPr marL="452120" lvl="1"/>
            <a:r>
              <a:rPr lang="en-US" b="1" dirty="0"/>
              <a:t>Scalability</a:t>
            </a:r>
            <a:r>
              <a:rPr lang="en-US" dirty="0"/>
              <a:t>: Large fleets are our specialty – we help scaling your project</a:t>
            </a:r>
            <a:endParaRPr lang="en-US" dirty="0">
              <a:cs typeface="Calibri"/>
            </a:endParaRPr>
          </a:p>
          <a:p>
            <a:pPr marL="452120" lvl="1"/>
            <a:r>
              <a:rPr lang="en-US" b="1" dirty="0"/>
              <a:t>Productivity &amp; Compliance: </a:t>
            </a:r>
            <a:r>
              <a:rPr lang="en-US" dirty="0"/>
              <a:t>we keep robots running and are dedicated to meeting industry standards</a:t>
            </a:r>
            <a:endParaRPr lang="en-US" dirty="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243611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2D30BB5C-5AAC-44D8-8BC5-FC3E16F16AA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700129" y="6534000"/>
            <a:ext cx="252000" cy="180000"/>
          </a:xfrm>
        </p:spPr>
        <p:txBody>
          <a:bodyPr/>
          <a:lstStyle/>
          <a:p>
            <a:fld id="{8471EAA7-3162-4B69-9563-88D5A3B75B98}" type="slidenum">
              <a:rPr lang="en-GB" dirty="0" smtClean="0"/>
              <a:pPr/>
              <a:t>9</a:t>
            </a:fld>
            <a:endParaRPr lang="en-GB" dirty="0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E6AEE210-4B87-467C-A3AF-3B4C2AFDB6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828000"/>
            <a:ext cx="8424000" cy="576000"/>
          </a:xfrm>
        </p:spPr>
        <p:txBody>
          <a:bodyPr/>
          <a:lstStyle/>
          <a:p>
            <a:r>
              <a:rPr lang="en-US" dirty="0">
                <a:solidFill>
                  <a:srgbClr val="11367C"/>
                </a:solidFill>
                <a:latin typeface="Oscine" panose="020B0506040202020204" pitchFamily="34" charset="0"/>
                <a:cs typeface="Oscine" panose="020B0506040202020204" pitchFamily="34" charset="0"/>
              </a:rPr>
              <a:t>Solution Overview</a:t>
            </a:r>
            <a:endParaRPr lang="en-US" dirty="0">
              <a:latin typeface="Oscine" panose="020B0506040202020204" pitchFamily="34" charset="0"/>
              <a:cs typeface="Oscine" panose="020B050604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E3084C6-29FA-4320-BB82-EA62642E7E00}"/>
              </a:ext>
            </a:extLst>
          </p:cNvPr>
          <p:cNvSpPr txBox="1"/>
          <p:nvPr/>
        </p:nvSpPr>
        <p:spPr>
          <a:xfrm>
            <a:off x="1873489" y="3569520"/>
            <a:ext cx="3092209" cy="46166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da-DK"/>
            </a:defPPr>
            <a:lvl1pPr lvl="0" indent="0" defTabSz="914378">
              <a:lnSpc>
                <a:spcPct val="150000"/>
              </a:lnSpc>
              <a:spcBef>
                <a:spcPts val="1200"/>
              </a:spcBef>
              <a:buClrTx/>
              <a:buSzPct val="75000"/>
              <a:buFontTx/>
              <a:buNone/>
              <a:defRPr sz="1400" baseline="0">
                <a:solidFill>
                  <a:schemeClr val="accent2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  <a:lvl2pPr marL="0" indent="0" defTabSz="914378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None/>
              <a:defRPr sz="1600" baseline="0">
                <a:solidFill>
                  <a:schemeClr val="tx1">
                    <a:lumMod val="85000"/>
                    <a:lumOff val="15000"/>
                  </a:schemeClr>
                </a:solidFill>
                <a:cs typeface="Calibri Light" panose="020F0302020204030204" pitchFamily="34" charset="0"/>
              </a:defRPr>
            </a:lvl2pPr>
            <a:lvl3pPr marL="0" indent="0" defTabSz="914378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None/>
              <a:defRPr sz="1600" baseline="0">
                <a:solidFill>
                  <a:schemeClr val="tx1">
                    <a:lumMod val="85000"/>
                    <a:lumOff val="15000"/>
                  </a:schemeClr>
                </a:solidFill>
                <a:cs typeface="Calibri Light" panose="020F0302020204030204" pitchFamily="34" charset="0"/>
              </a:defRPr>
            </a:lvl3pPr>
            <a:lvl4pPr marL="0" indent="0" defTabSz="914378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None/>
              <a:defRPr sz="1600" baseline="0">
                <a:solidFill>
                  <a:schemeClr val="tx1">
                    <a:lumMod val="85000"/>
                    <a:lumOff val="15000"/>
                  </a:schemeClr>
                </a:solidFill>
                <a:cs typeface="Calibri Light" panose="020F0302020204030204" pitchFamily="34" charset="0"/>
              </a:defRPr>
            </a:lvl4pPr>
            <a:lvl5pPr marL="864000" indent="0" defTabSz="914378">
              <a:lnSpc>
                <a:spcPct val="100000"/>
              </a:lnSpc>
              <a:spcBef>
                <a:spcPts val="1200"/>
              </a:spcBef>
              <a:buClrTx/>
              <a:buSzPct val="100000"/>
              <a:buFont typeface="Arial" panose="020B0604020202020204" pitchFamily="34" charset="0"/>
              <a:buNone/>
              <a:defRPr sz="2000"/>
            </a:lvl5pPr>
            <a:lvl6pPr marL="2514537" indent="-228594" defTabSz="914378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726" indent="-228594" defTabSz="914378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8915" indent="-228594" defTabSz="914378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103" indent="-228594" defTabSz="914378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sz="1500" dirty="0"/>
              <a:t>AMRs to transport  heavy loads and pallet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48B6D9E-8595-404A-81CC-5022BA1F5800}"/>
              </a:ext>
            </a:extLst>
          </p:cNvPr>
          <p:cNvCxnSpPr>
            <a:cxnSpLocks/>
          </p:cNvCxnSpPr>
          <p:nvPr/>
        </p:nvCxnSpPr>
        <p:spPr>
          <a:xfrm flipV="1">
            <a:off x="1593428" y="3384717"/>
            <a:ext cx="0" cy="831270"/>
          </a:xfrm>
          <a:prstGeom prst="line">
            <a:avLst/>
          </a:prstGeom>
          <a:ln w="9525">
            <a:gradFill flip="none" rotWithShape="1">
              <a:gsLst>
                <a:gs pos="0">
                  <a:schemeClr val="bg1">
                    <a:alpha val="0"/>
                  </a:schemeClr>
                </a:gs>
                <a:gs pos="72000">
                  <a:schemeClr val="accent3"/>
                </a:gs>
                <a:gs pos="45000">
                  <a:schemeClr val="accent3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id="{33888207-5D1B-4941-8D52-DA54C4545048}"/>
              </a:ext>
            </a:extLst>
          </p:cNvPr>
          <p:cNvGrpSpPr/>
          <p:nvPr/>
        </p:nvGrpSpPr>
        <p:grpSpPr>
          <a:xfrm>
            <a:off x="744939" y="3519494"/>
            <a:ext cx="567985" cy="561717"/>
            <a:chOff x="2598738" y="1919288"/>
            <a:chExt cx="287340" cy="284169"/>
          </a:xfrm>
          <a:solidFill>
            <a:schemeClr val="accent2"/>
          </a:solidFill>
        </p:grpSpPr>
        <p:sp>
          <p:nvSpPr>
            <p:cNvPr id="10" name="Freeform 505">
              <a:extLst>
                <a:ext uri="{FF2B5EF4-FFF2-40B4-BE49-F238E27FC236}">
                  <a16:creationId xmlns:a16="http://schemas.microsoft.com/office/drawing/2014/main" id="{5A086EAA-998F-4290-BD26-4D6420854A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8738" y="1982792"/>
              <a:ext cx="142875" cy="220664"/>
            </a:xfrm>
            <a:custGeom>
              <a:avLst/>
              <a:gdLst>
                <a:gd name="T0" fmla="*/ 121 w 452"/>
                <a:gd name="T1" fmla="*/ 172 h 695"/>
                <a:gd name="T2" fmla="*/ 122 w 452"/>
                <a:gd name="T3" fmla="*/ 169 h 695"/>
                <a:gd name="T4" fmla="*/ 123 w 452"/>
                <a:gd name="T5" fmla="*/ 166 h 695"/>
                <a:gd name="T6" fmla="*/ 125 w 452"/>
                <a:gd name="T7" fmla="*/ 163 h 695"/>
                <a:gd name="T8" fmla="*/ 127 w 452"/>
                <a:gd name="T9" fmla="*/ 160 h 695"/>
                <a:gd name="T10" fmla="*/ 131 w 452"/>
                <a:gd name="T11" fmla="*/ 158 h 695"/>
                <a:gd name="T12" fmla="*/ 134 w 452"/>
                <a:gd name="T13" fmla="*/ 157 h 695"/>
                <a:gd name="T14" fmla="*/ 138 w 452"/>
                <a:gd name="T15" fmla="*/ 158 h 695"/>
                <a:gd name="T16" fmla="*/ 142 w 452"/>
                <a:gd name="T17" fmla="*/ 159 h 695"/>
                <a:gd name="T18" fmla="*/ 352 w 452"/>
                <a:gd name="T19" fmla="*/ 250 h 695"/>
                <a:gd name="T20" fmla="*/ 357 w 452"/>
                <a:gd name="T21" fmla="*/ 252 h 695"/>
                <a:gd name="T22" fmla="*/ 359 w 452"/>
                <a:gd name="T23" fmla="*/ 255 h 695"/>
                <a:gd name="T24" fmla="*/ 361 w 452"/>
                <a:gd name="T25" fmla="*/ 259 h 695"/>
                <a:gd name="T26" fmla="*/ 362 w 452"/>
                <a:gd name="T27" fmla="*/ 263 h 695"/>
                <a:gd name="T28" fmla="*/ 362 w 452"/>
                <a:gd name="T29" fmla="*/ 459 h 695"/>
                <a:gd name="T30" fmla="*/ 361 w 452"/>
                <a:gd name="T31" fmla="*/ 463 h 695"/>
                <a:gd name="T32" fmla="*/ 360 w 452"/>
                <a:gd name="T33" fmla="*/ 466 h 695"/>
                <a:gd name="T34" fmla="*/ 358 w 452"/>
                <a:gd name="T35" fmla="*/ 469 h 695"/>
                <a:gd name="T36" fmla="*/ 354 w 452"/>
                <a:gd name="T37" fmla="*/ 472 h 695"/>
                <a:gd name="T38" fmla="*/ 351 w 452"/>
                <a:gd name="T39" fmla="*/ 474 h 695"/>
                <a:gd name="T40" fmla="*/ 347 w 452"/>
                <a:gd name="T41" fmla="*/ 474 h 695"/>
                <a:gd name="T42" fmla="*/ 344 w 452"/>
                <a:gd name="T43" fmla="*/ 474 h 695"/>
                <a:gd name="T44" fmla="*/ 340 w 452"/>
                <a:gd name="T45" fmla="*/ 473 h 695"/>
                <a:gd name="T46" fmla="*/ 130 w 452"/>
                <a:gd name="T47" fmla="*/ 383 h 695"/>
                <a:gd name="T48" fmla="*/ 126 w 452"/>
                <a:gd name="T49" fmla="*/ 380 h 695"/>
                <a:gd name="T50" fmla="*/ 123 w 452"/>
                <a:gd name="T51" fmla="*/ 377 h 695"/>
                <a:gd name="T52" fmla="*/ 122 w 452"/>
                <a:gd name="T53" fmla="*/ 373 h 695"/>
                <a:gd name="T54" fmla="*/ 121 w 452"/>
                <a:gd name="T55" fmla="*/ 369 h 695"/>
                <a:gd name="T56" fmla="*/ 121 w 452"/>
                <a:gd name="T57" fmla="*/ 172 h 695"/>
                <a:gd name="T58" fmla="*/ 0 w 452"/>
                <a:gd name="T59" fmla="*/ 474 h 695"/>
                <a:gd name="T60" fmla="*/ 0 w 452"/>
                <a:gd name="T61" fmla="*/ 478 h 695"/>
                <a:gd name="T62" fmla="*/ 3 w 452"/>
                <a:gd name="T63" fmla="*/ 482 h 695"/>
                <a:gd name="T64" fmla="*/ 6 w 452"/>
                <a:gd name="T65" fmla="*/ 485 h 695"/>
                <a:gd name="T66" fmla="*/ 9 w 452"/>
                <a:gd name="T67" fmla="*/ 488 h 695"/>
                <a:gd name="T68" fmla="*/ 452 w 452"/>
                <a:gd name="T69" fmla="*/ 695 h 695"/>
                <a:gd name="T70" fmla="*/ 452 w 452"/>
                <a:gd name="T71" fmla="*/ 685 h 695"/>
                <a:gd name="T72" fmla="*/ 452 w 452"/>
                <a:gd name="T73" fmla="*/ 661 h 695"/>
                <a:gd name="T74" fmla="*/ 452 w 452"/>
                <a:gd name="T75" fmla="*/ 198 h 695"/>
                <a:gd name="T76" fmla="*/ 452 w 452"/>
                <a:gd name="T77" fmla="*/ 198 h 695"/>
                <a:gd name="T78" fmla="*/ 0 w 452"/>
                <a:gd name="T79" fmla="*/ 0 h 695"/>
                <a:gd name="T80" fmla="*/ 0 w 452"/>
                <a:gd name="T81" fmla="*/ 474 h 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52" h="695">
                  <a:moveTo>
                    <a:pt x="121" y="172"/>
                  </a:moveTo>
                  <a:lnTo>
                    <a:pt x="122" y="169"/>
                  </a:lnTo>
                  <a:lnTo>
                    <a:pt x="123" y="166"/>
                  </a:lnTo>
                  <a:lnTo>
                    <a:pt x="125" y="163"/>
                  </a:lnTo>
                  <a:lnTo>
                    <a:pt x="127" y="160"/>
                  </a:lnTo>
                  <a:lnTo>
                    <a:pt x="131" y="158"/>
                  </a:lnTo>
                  <a:lnTo>
                    <a:pt x="134" y="157"/>
                  </a:lnTo>
                  <a:lnTo>
                    <a:pt x="138" y="158"/>
                  </a:lnTo>
                  <a:lnTo>
                    <a:pt x="142" y="159"/>
                  </a:lnTo>
                  <a:lnTo>
                    <a:pt x="352" y="250"/>
                  </a:lnTo>
                  <a:lnTo>
                    <a:pt x="357" y="252"/>
                  </a:lnTo>
                  <a:lnTo>
                    <a:pt x="359" y="255"/>
                  </a:lnTo>
                  <a:lnTo>
                    <a:pt x="361" y="259"/>
                  </a:lnTo>
                  <a:lnTo>
                    <a:pt x="362" y="263"/>
                  </a:lnTo>
                  <a:lnTo>
                    <a:pt x="362" y="459"/>
                  </a:lnTo>
                  <a:lnTo>
                    <a:pt x="361" y="463"/>
                  </a:lnTo>
                  <a:lnTo>
                    <a:pt x="360" y="466"/>
                  </a:lnTo>
                  <a:lnTo>
                    <a:pt x="358" y="469"/>
                  </a:lnTo>
                  <a:lnTo>
                    <a:pt x="354" y="472"/>
                  </a:lnTo>
                  <a:lnTo>
                    <a:pt x="351" y="474"/>
                  </a:lnTo>
                  <a:lnTo>
                    <a:pt x="347" y="474"/>
                  </a:lnTo>
                  <a:lnTo>
                    <a:pt x="344" y="474"/>
                  </a:lnTo>
                  <a:lnTo>
                    <a:pt x="340" y="473"/>
                  </a:lnTo>
                  <a:lnTo>
                    <a:pt x="130" y="383"/>
                  </a:lnTo>
                  <a:lnTo>
                    <a:pt x="126" y="380"/>
                  </a:lnTo>
                  <a:lnTo>
                    <a:pt x="123" y="377"/>
                  </a:lnTo>
                  <a:lnTo>
                    <a:pt x="122" y="373"/>
                  </a:lnTo>
                  <a:lnTo>
                    <a:pt x="121" y="369"/>
                  </a:lnTo>
                  <a:lnTo>
                    <a:pt x="121" y="172"/>
                  </a:lnTo>
                  <a:close/>
                  <a:moveTo>
                    <a:pt x="0" y="474"/>
                  </a:moveTo>
                  <a:lnTo>
                    <a:pt x="0" y="478"/>
                  </a:lnTo>
                  <a:lnTo>
                    <a:pt x="3" y="482"/>
                  </a:lnTo>
                  <a:lnTo>
                    <a:pt x="6" y="485"/>
                  </a:lnTo>
                  <a:lnTo>
                    <a:pt x="9" y="488"/>
                  </a:lnTo>
                  <a:lnTo>
                    <a:pt x="452" y="695"/>
                  </a:lnTo>
                  <a:lnTo>
                    <a:pt x="452" y="685"/>
                  </a:lnTo>
                  <a:lnTo>
                    <a:pt x="452" y="661"/>
                  </a:lnTo>
                  <a:lnTo>
                    <a:pt x="452" y="198"/>
                  </a:lnTo>
                  <a:lnTo>
                    <a:pt x="452" y="198"/>
                  </a:lnTo>
                  <a:lnTo>
                    <a:pt x="0" y="0"/>
                  </a:lnTo>
                  <a:lnTo>
                    <a:pt x="0" y="4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506">
              <a:extLst>
                <a:ext uri="{FF2B5EF4-FFF2-40B4-BE49-F238E27FC236}">
                  <a16:creationId xmlns:a16="http://schemas.microsoft.com/office/drawing/2014/main" id="{732F5A32-09AC-46CC-B450-DA5841ADB12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5091" y="1947867"/>
              <a:ext cx="201613" cy="90488"/>
            </a:xfrm>
            <a:custGeom>
              <a:avLst/>
              <a:gdLst>
                <a:gd name="T0" fmla="*/ 212 w 639"/>
                <a:gd name="T1" fmla="*/ 0 h 281"/>
                <a:gd name="T2" fmla="*/ 0 w 639"/>
                <a:gd name="T3" fmla="*/ 85 h 281"/>
                <a:gd name="T4" fmla="*/ 449 w 639"/>
                <a:gd name="T5" fmla="*/ 281 h 281"/>
                <a:gd name="T6" fmla="*/ 639 w 639"/>
                <a:gd name="T7" fmla="*/ 192 h 281"/>
                <a:gd name="T8" fmla="*/ 212 w 639"/>
                <a:gd name="T9" fmla="*/ 0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9" h="281">
                  <a:moveTo>
                    <a:pt x="212" y="0"/>
                  </a:moveTo>
                  <a:lnTo>
                    <a:pt x="0" y="85"/>
                  </a:lnTo>
                  <a:lnTo>
                    <a:pt x="449" y="281"/>
                  </a:lnTo>
                  <a:lnTo>
                    <a:pt x="639" y="192"/>
                  </a:lnTo>
                  <a:lnTo>
                    <a:pt x="2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507">
              <a:extLst>
                <a:ext uri="{FF2B5EF4-FFF2-40B4-BE49-F238E27FC236}">
                  <a16:creationId xmlns:a16="http://schemas.microsoft.com/office/drawing/2014/main" id="{1B77AA13-3306-4FCD-A0F9-28A574AABCE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1140" y="1984381"/>
              <a:ext cx="134938" cy="219076"/>
            </a:xfrm>
            <a:custGeom>
              <a:avLst/>
              <a:gdLst>
                <a:gd name="T0" fmla="*/ 0 w 421"/>
                <a:gd name="T1" fmla="*/ 196 h 693"/>
                <a:gd name="T2" fmla="*/ 0 w 421"/>
                <a:gd name="T3" fmla="*/ 659 h 693"/>
                <a:gd name="T4" fmla="*/ 0 w 421"/>
                <a:gd name="T5" fmla="*/ 684 h 693"/>
                <a:gd name="T6" fmla="*/ 0 w 421"/>
                <a:gd name="T7" fmla="*/ 693 h 693"/>
                <a:gd name="T8" fmla="*/ 413 w 421"/>
                <a:gd name="T9" fmla="*/ 487 h 693"/>
                <a:gd name="T10" fmla="*/ 416 w 421"/>
                <a:gd name="T11" fmla="*/ 483 h 693"/>
                <a:gd name="T12" fmla="*/ 419 w 421"/>
                <a:gd name="T13" fmla="*/ 481 h 693"/>
                <a:gd name="T14" fmla="*/ 420 w 421"/>
                <a:gd name="T15" fmla="*/ 477 h 693"/>
                <a:gd name="T16" fmla="*/ 421 w 421"/>
                <a:gd name="T17" fmla="*/ 473 h 693"/>
                <a:gd name="T18" fmla="*/ 421 w 421"/>
                <a:gd name="T19" fmla="*/ 0 h 693"/>
                <a:gd name="T20" fmla="*/ 0 w 421"/>
                <a:gd name="T21" fmla="*/ 196 h 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21" h="693">
                  <a:moveTo>
                    <a:pt x="0" y="196"/>
                  </a:moveTo>
                  <a:lnTo>
                    <a:pt x="0" y="659"/>
                  </a:lnTo>
                  <a:lnTo>
                    <a:pt x="0" y="684"/>
                  </a:lnTo>
                  <a:lnTo>
                    <a:pt x="0" y="693"/>
                  </a:lnTo>
                  <a:lnTo>
                    <a:pt x="413" y="487"/>
                  </a:lnTo>
                  <a:lnTo>
                    <a:pt x="416" y="483"/>
                  </a:lnTo>
                  <a:lnTo>
                    <a:pt x="419" y="481"/>
                  </a:lnTo>
                  <a:lnTo>
                    <a:pt x="420" y="477"/>
                  </a:lnTo>
                  <a:lnTo>
                    <a:pt x="421" y="473"/>
                  </a:lnTo>
                  <a:lnTo>
                    <a:pt x="421" y="0"/>
                  </a:lnTo>
                  <a:lnTo>
                    <a:pt x="0" y="1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508">
              <a:extLst>
                <a:ext uri="{FF2B5EF4-FFF2-40B4-BE49-F238E27FC236}">
                  <a16:creationId xmlns:a16="http://schemas.microsoft.com/office/drawing/2014/main" id="{985739A1-FE53-4956-9D85-FD243CDDCE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4463" y="1919288"/>
              <a:ext cx="195263" cy="85725"/>
            </a:xfrm>
            <a:custGeom>
              <a:avLst/>
              <a:gdLst>
                <a:gd name="T0" fmla="*/ 618 w 618"/>
                <a:gd name="T1" fmla="*/ 178 h 269"/>
                <a:gd name="T2" fmla="*/ 203 w 618"/>
                <a:gd name="T3" fmla="*/ 1 h 269"/>
                <a:gd name="T4" fmla="*/ 201 w 618"/>
                <a:gd name="T5" fmla="*/ 0 h 269"/>
                <a:gd name="T6" fmla="*/ 198 w 618"/>
                <a:gd name="T7" fmla="*/ 0 h 269"/>
                <a:gd name="T8" fmla="*/ 195 w 618"/>
                <a:gd name="T9" fmla="*/ 0 h 269"/>
                <a:gd name="T10" fmla="*/ 193 w 618"/>
                <a:gd name="T11" fmla="*/ 1 h 269"/>
                <a:gd name="T12" fmla="*/ 0 w 618"/>
                <a:gd name="T13" fmla="*/ 77 h 269"/>
                <a:gd name="T14" fmla="*/ 423 w 618"/>
                <a:gd name="T15" fmla="*/ 269 h 269"/>
                <a:gd name="T16" fmla="*/ 618 w 618"/>
                <a:gd name="T17" fmla="*/ 178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8" h="269">
                  <a:moveTo>
                    <a:pt x="618" y="178"/>
                  </a:moveTo>
                  <a:lnTo>
                    <a:pt x="203" y="1"/>
                  </a:lnTo>
                  <a:lnTo>
                    <a:pt x="201" y="0"/>
                  </a:lnTo>
                  <a:lnTo>
                    <a:pt x="198" y="0"/>
                  </a:lnTo>
                  <a:lnTo>
                    <a:pt x="195" y="0"/>
                  </a:lnTo>
                  <a:lnTo>
                    <a:pt x="193" y="1"/>
                  </a:lnTo>
                  <a:lnTo>
                    <a:pt x="0" y="77"/>
                  </a:lnTo>
                  <a:lnTo>
                    <a:pt x="423" y="269"/>
                  </a:lnTo>
                  <a:lnTo>
                    <a:pt x="618" y="1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9F2AA833-2C3E-46A8-BCC8-C56727C33B7D}"/>
              </a:ext>
            </a:extLst>
          </p:cNvPr>
          <p:cNvSpPr txBox="1"/>
          <p:nvPr/>
        </p:nvSpPr>
        <p:spPr>
          <a:xfrm>
            <a:off x="1873489" y="2221633"/>
            <a:ext cx="3828811" cy="46166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da-DK"/>
            </a:defPPr>
            <a:lvl1pPr lvl="0" indent="0" defTabSz="914378">
              <a:lnSpc>
                <a:spcPct val="150000"/>
              </a:lnSpc>
              <a:spcBef>
                <a:spcPts val="1200"/>
              </a:spcBef>
              <a:buClrTx/>
              <a:buSzPct val="75000"/>
              <a:buFontTx/>
              <a:buNone/>
              <a:defRPr sz="1400" baseline="0">
                <a:solidFill>
                  <a:schemeClr val="accent2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  <a:lvl2pPr marL="0" indent="0" defTabSz="914378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None/>
              <a:defRPr sz="1600" baseline="0">
                <a:solidFill>
                  <a:schemeClr val="tx1">
                    <a:lumMod val="85000"/>
                    <a:lumOff val="15000"/>
                  </a:schemeClr>
                </a:solidFill>
                <a:cs typeface="Calibri Light" panose="020F0302020204030204" pitchFamily="34" charset="0"/>
              </a:defRPr>
            </a:lvl2pPr>
            <a:lvl3pPr marL="0" indent="0" defTabSz="914378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None/>
              <a:defRPr sz="1600" baseline="0">
                <a:solidFill>
                  <a:schemeClr val="tx1">
                    <a:lumMod val="85000"/>
                    <a:lumOff val="15000"/>
                  </a:schemeClr>
                </a:solidFill>
                <a:cs typeface="Calibri Light" panose="020F0302020204030204" pitchFamily="34" charset="0"/>
              </a:defRPr>
            </a:lvl3pPr>
            <a:lvl4pPr marL="0" indent="0" defTabSz="914378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None/>
              <a:defRPr sz="1600" baseline="0">
                <a:solidFill>
                  <a:schemeClr val="tx1">
                    <a:lumMod val="85000"/>
                    <a:lumOff val="15000"/>
                  </a:schemeClr>
                </a:solidFill>
                <a:cs typeface="Calibri Light" panose="020F0302020204030204" pitchFamily="34" charset="0"/>
              </a:defRPr>
            </a:lvl4pPr>
            <a:lvl5pPr marL="864000" indent="0" defTabSz="914378">
              <a:lnSpc>
                <a:spcPct val="100000"/>
              </a:lnSpc>
              <a:spcBef>
                <a:spcPts val="1200"/>
              </a:spcBef>
              <a:buClrTx/>
              <a:buSzPct val="100000"/>
              <a:buFont typeface="Arial" panose="020B0604020202020204" pitchFamily="34" charset="0"/>
              <a:buNone/>
              <a:defRPr sz="2000"/>
            </a:lvl5pPr>
            <a:lvl6pPr marL="2514537" indent="-228594" defTabSz="914378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726" indent="-228594" defTabSz="914378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8915" indent="-228594" defTabSz="914378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103" indent="-228594" defTabSz="914378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sz="1500" dirty="0"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AMRs to transport small- and medium sized materials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70A5D23-1D21-4A42-A09B-0A37CF04ADFA}"/>
              </a:ext>
            </a:extLst>
          </p:cNvPr>
          <p:cNvCxnSpPr>
            <a:cxnSpLocks/>
          </p:cNvCxnSpPr>
          <p:nvPr/>
        </p:nvCxnSpPr>
        <p:spPr>
          <a:xfrm flipV="1">
            <a:off x="1593428" y="2036830"/>
            <a:ext cx="0" cy="831270"/>
          </a:xfrm>
          <a:prstGeom prst="line">
            <a:avLst/>
          </a:prstGeom>
          <a:ln w="9525">
            <a:gradFill flip="none" rotWithShape="1">
              <a:gsLst>
                <a:gs pos="0">
                  <a:schemeClr val="bg1">
                    <a:alpha val="0"/>
                  </a:schemeClr>
                </a:gs>
                <a:gs pos="72000">
                  <a:schemeClr val="accent3"/>
                </a:gs>
                <a:gs pos="45000">
                  <a:schemeClr val="accent3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E534337E-D069-4987-8664-18915FB2FCA4}"/>
              </a:ext>
            </a:extLst>
          </p:cNvPr>
          <p:cNvSpPr txBox="1"/>
          <p:nvPr/>
        </p:nvSpPr>
        <p:spPr>
          <a:xfrm>
            <a:off x="1873490" y="5224189"/>
            <a:ext cx="2052524" cy="46166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da-DK"/>
            </a:defPPr>
            <a:lvl1pPr lvl="0" indent="0" defTabSz="914378">
              <a:lnSpc>
                <a:spcPct val="150000"/>
              </a:lnSpc>
              <a:spcBef>
                <a:spcPts val="1200"/>
              </a:spcBef>
              <a:buClrTx/>
              <a:buSzPct val="75000"/>
              <a:buFontTx/>
              <a:buNone/>
              <a:defRPr sz="1400" baseline="0">
                <a:solidFill>
                  <a:schemeClr val="accent2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  <a:lvl2pPr marL="0" indent="0" defTabSz="914378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None/>
              <a:defRPr sz="1600" baseline="0">
                <a:solidFill>
                  <a:schemeClr val="tx1">
                    <a:lumMod val="85000"/>
                    <a:lumOff val="15000"/>
                  </a:schemeClr>
                </a:solidFill>
                <a:cs typeface="Calibri Light" panose="020F0302020204030204" pitchFamily="34" charset="0"/>
              </a:defRPr>
            </a:lvl2pPr>
            <a:lvl3pPr marL="0" indent="0" defTabSz="914378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None/>
              <a:defRPr sz="1600" baseline="0">
                <a:solidFill>
                  <a:schemeClr val="tx1">
                    <a:lumMod val="85000"/>
                    <a:lumOff val="15000"/>
                  </a:schemeClr>
                </a:solidFill>
                <a:cs typeface="Calibri Light" panose="020F0302020204030204" pitchFamily="34" charset="0"/>
              </a:defRPr>
            </a:lvl3pPr>
            <a:lvl4pPr marL="0" indent="0" defTabSz="914378">
              <a:lnSpc>
                <a:spcPct val="100000"/>
              </a:lnSpc>
              <a:spcBef>
                <a:spcPts val="1200"/>
              </a:spcBef>
              <a:buClrTx/>
              <a:buSzPct val="75000"/>
              <a:buFontTx/>
              <a:buNone/>
              <a:defRPr sz="1600" baseline="0">
                <a:solidFill>
                  <a:schemeClr val="tx1">
                    <a:lumMod val="85000"/>
                    <a:lumOff val="15000"/>
                  </a:schemeClr>
                </a:solidFill>
                <a:cs typeface="Calibri Light" panose="020F0302020204030204" pitchFamily="34" charset="0"/>
              </a:defRPr>
            </a:lvl4pPr>
            <a:lvl5pPr marL="864000" indent="0" defTabSz="914378">
              <a:lnSpc>
                <a:spcPct val="100000"/>
              </a:lnSpc>
              <a:spcBef>
                <a:spcPts val="1200"/>
              </a:spcBef>
              <a:buClrTx/>
              <a:buSzPct val="100000"/>
              <a:buFont typeface="Arial" panose="020B0604020202020204" pitchFamily="34" charset="0"/>
              <a:buNone/>
              <a:defRPr sz="2000"/>
            </a:lvl5pPr>
            <a:lvl6pPr marL="2514537" indent="-228594" defTabSz="914378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726" indent="-228594" defTabSz="914378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8915" indent="-228594" defTabSz="914378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103" indent="-228594" defTabSz="914378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sz="1500" dirty="0"/>
              <a:t>Top modules and accessories 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671F536-9979-4B66-82AF-41586B9F6A4B}"/>
              </a:ext>
            </a:extLst>
          </p:cNvPr>
          <p:cNvCxnSpPr>
            <a:cxnSpLocks/>
          </p:cNvCxnSpPr>
          <p:nvPr/>
        </p:nvCxnSpPr>
        <p:spPr>
          <a:xfrm flipV="1">
            <a:off x="1593428" y="5039386"/>
            <a:ext cx="0" cy="831270"/>
          </a:xfrm>
          <a:prstGeom prst="line">
            <a:avLst/>
          </a:prstGeom>
          <a:ln w="9525">
            <a:gradFill flip="none" rotWithShape="1">
              <a:gsLst>
                <a:gs pos="0">
                  <a:schemeClr val="bg1">
                    <a:alpha val="0"/>
                  </a:schemeClr>
                </a:gs>
                <a:gs pos="72000">
                  <a:schemeClr val="accent3"/>
                </a:gs>
                <a:gs pos="45000">
                  <a:schemeClr val="accent3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reeform 17">
            <a:extLst>
              <a:ext uri="{FF2B5EF4-FFF2-40B4-BE49-F238E27FC236}">
                <a16:creationId xmlns:a16="http://schemas.microsoft.com/office/drawing/2014/main" id="{A61E0883-C69F-40A7-B624-50BEBC00F135}"/>
              </a:ext>
            </a:extLst>
          </p:cNvPr>
          <p:cNvSpPr/>
          <p:nvPr/>
        </p:nvSpPr>
        <p:spPr>
          <a:xfrm>
            <a:off x="10982693" y="2747298"/>
            <a:ext cx="479298" cy="216534"/>
          </a:xfrm>
          <a:custGeom>
            <a:avLst/>
            <a:gdLst>
              <a:gd name="connsiteX0" fmla="*/ 0 w 1517119"/>
              <a:gd name="connsiteY0" fmla="*/ 0 h 535454"/>
              <a:gd name="connsiteX1" fmla="*/ 1517119 w 1517119"/>
              <a:gd name="connsiteY1" fmla="*/ 0 h 535454"/>
              <a:gd name="connsiteX2" fmla="*/ 1517119 w 1517119"/>
              <a:gd name="connsiteY2" fmla="*/ 535454 h 535454"/>
              <a:gd name="connsiteX3" fmla="*/ 0 w 1517119"/>
              <a:gd name="connsiteY3" fmla="*/ 535454 h 535454"/>
              <a:gd name="connsiteX4" fmla="*/ 0 w 1517119"/>
              <a:gd name="connsiteY4" fmla="*/ 0 h 535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17119" h="535454">
                <a:moveTo>
                  <a:pt x="0" y="0"/>
                </a:moveTo>
                <a:lnTo>
                  <a:pt x="1517119" y="0"/>
                </a:lnTo>
                <a:lnTo>
                  <a:pt x="1517119" y="535454"/>
                </a:lnTo>
                <a:lnTo>
                  <a:pt x="0" y="535454"/>
                </a:lnTo>
                <a:lnTo>
                  <a:pt x="0" y="0"/>
                </a:lnTo>
                <a:close/>
              </a:path>
            </a:pathLst>
          </a:custGeom>
        </p:spPr>
        <p:txBody>
          <a:bodyPr vert="horz" wrap="none" lIns="0" tIns="0" rIns="0" bIns="0" rtlCol="0" anchor="t" anchorCtr="0">
            <a:spAutoFit/>
          </a:bodyPr>
          <a:lstStyle/>
          <a:p>
            <a:pPr algn="ctr" defTabSz="914378">
              <a:lnSpc>
                <a:spcPct val="150000"/>
              </a:lnSpc>
              <a:spcBef>
                <a:spcPts val="1200"/>
              </a:spcBef>
              <a:buSzPct val="75000"/>
            </a:pPr>
            <a:r>
              <a:rPr lang="da-DK" sz="1050" dirty="0">
                <a:solidFill>
                  <a:schemeClr val="accent2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MiR250</a:t>
            </a:r>
            <a:endParaRPr lang="en-US" sz="1050" dirty="0">
              <a:solidFill>
                <a:schemeClr val="accent2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717C066-5BB3-46E5-A963-672087DDD787}"/>
              </a:ext>
            </a:extLst>
          </p:cNvPr>
          <p:cNvGrpSpPr/>
          <p:nvPr/>
        </p:nvGrpSpPr>
        <p:grpSpPr>
          <a:xfrm>
            <a:off x="9334440" y="1606017"/>
            <a:ext cx="1934663" cy="1068675"/>
            <a:chOff x="1657814" y="2219361"/>
            <a:chExt cx="1817028" cy="1003695"/>
          </a:xfrm>
        </p:grpSpPr>
        <p:sp>
          <p:nvSpPr>
            <p:cNvPr id="22" name="Hexagon 56">
              <a:extLst>
                <a:ext uri="{FF2B5EF4-FFF2-40B4-BE49-F238E27FC236}">
                  <a16:creationId xmlns:a16="http://schemas.microsoft.com/office/drawing/2014/main" id="{98EF6E45-424B-427B-896F-3A3C7FBE35CA}"/>
                </a:ext>
              </a:extLst>
            </p:cNvPr>
            <p:cNvSpPr/>
            <p:nvPr/>
          </p:nvSpPr>
          <p:spPr>
            <a:xfrm rot="5400000" flipH="1" flipV="1">
              <a:off x="1724168" y="2380897"/>
              <a:ext cx="775805" cy="908514"/>
            </a:xfrm>
            <a:custGeom>
              <a:avLst/>
              <a:gdLst>
                <a:gd name="connsiteX0" fmla="*/ 0 w 1668920"/>
                <a:gd name="connsiteY0" fmla="*/ 755901 h 1511802"/>
                <a:gd name="connsiteX1" fmla="*/ 377951 w 1668920"/>
                <a:gd name="connsiteY1" fmla="*/ 0 h 1511802"/>
                <a:gd name="connsiteX2" fmla="*/ 1290970 w 1668920"/>
                <a:gd name="connsiteY2" fmla="*/ 0 h 1511802"/>
                <a:gd name="connsiteX3" fmla="*/ 1668920 w 1668920"/>
                <a:gd name="connsiteY3" fmla="*/ 755901 h 1511802"/>
                <a:gd name="connsiteX4" fmla="*/ 1290970 w 1668920"/>
                <a:gd name="connsiteY4" fmla="*/ 1511802 h 1511802"/>
                <a:gd name="connsiteX5" fmla="*/ 377951 w 1668920"/>
                <a:gd name="connsiteY5" fmla="*/ 1511802 h 1511802"/>
                <a:gd name="connsiteX6" fmla="*/ 0 w 1668920"/>
                <a:gd name="connsiteY6" fmla="*/ 755901 h 1511802"/>
                <a:gd name="connsiteX0" fmla="*/ 1668920 w 1760360"/>
                <a:gd name="connsiteY0" fmla="*/ 755901 h 1511802"/>
                <a:gd name="connsiteX1" fmla="*/ 1290970 w 1760360"/>
                <a:gd name="connsiteY1" fmla="*/ 1511802 h 1511802"/>
                <a:gd name="connsiteX2" fmla="*/ 377951 w 1760360"/>
                <a:gd name="connsiteY2" fmla="*/ 1511802 h 1511802"/>
                <a:gd name="connsiteX3" fmla="*/ 0 w 1760360"/>
                <a:gd name="connsiteY3" fmla="*/ 755901 h 1511802"/>
                <a:gd name="connsiteX4" fmla="*/ 377951 w 1760360"/>
                <a:gd name="connsiteY4" fmla="*/ 0 h 1511802"/>
                <a:gd name="connsiteX5" fmla="*/ 1290970 w 1760360"/>
                <a:gd name="connsiteY5" fmla="*/ 0 h 1511802"/>
                <a:gd name="connsiteX6" fmla="*/ 1760360 w 1760360"/>
                <a:gd name="connsiteY6" fmla="*/ 847341 h 1511802"/>
                <a:gd name="connsiteX0" fmla="*/ 1668920 w 1668920"/>
                <a:gd name="connsiteY0" fmla="*/ 755901 h 1511802"/>
                <a:gd name="connsiteX1" fmla="*/ 1290970 w 1668920"/>
                <a:gd name="connsiteY1" fmla="*/ 1511802 h 1511802"/>
                <a:gd name="connsiteX2" fmla="*/ 377951 w 1668920"/>
                <a:gd name="connsiteY2" fmla="*/ 1511802 h 1511802"/>
                <a:gd name="connsiteX3" fmla="*/ 0 w 1668920"/>
                <a:gd name="connsiteY3" fmla="*/ 755901 h 1511802"/>
                <a:gd name="connsiteX4" fmla="*/ 377951 w 1668920"/>
                <a:gd name="connsiteY4" fmla="*/ 0 h 1511802"/>
                <a:gd name="connsiteX5" fmla="*/ 1290970 w 1668920"/>
                <a:gd name="connsiteY5" fmla="*/ 0 h 1511802"/>
                <a:gd name="connsiteX0" fmla="*/ 1290970 w 1290970"/>
                <a:gd name="connsiteY0" fmla="*/ 1511802 h 1511802"/>
                <a:gd name="connsiteX1" fmla="*/ 377951 w 1290970"/>
                <a:gd name="connsiteY1" fmla="*/ 1511802 h 1511802"/>
                <a:gd name="connsiteX2" fmla="*/ 0 w 1290970"/>
                <a:gd name="connsiteY2" fmla="*/ 755901 h 1511802"/>
                <a:gd name="connsiteX3" fmla="*/ 377951 w 1290970"/>
                <a:gd name="connsiteY3" fmla="*/ 0 h 1511802"/>
                <a:gd name="connsiteX4" fmla="*/ 1290970 w 1290970"/>
                <a:gd name="connsiteY4" fmla="*/ 0 h 1511802"/>
                <a:gd name="connsiteX0" fmla="*/ 1290970 w 1290970"/>
                <a:gd name="connsiteY0" fmla="*/ 1511802 h 1511802"/>
                <a:gd name="connsiteX1" fmla="*/ 377951 w 1290970"/>
                <a:gd name="connsiteY1" fmla="*/ 1511802 h 1511802"/>
                <a:gd name="connsiteX2" fmla="*/ 0 w 1290970"/>
                <a:gd name="connsiteY2" fmla="*/ 755901 h 1511802"/>
                <a:gd name="connsiteX3" fmla="*/ 377951 w 1290970"/>
                <a:gd name="connsiteY3" fmla="*/ 0 h 1511802"/>
                <a:gd name="connsiteX4" fmla="*/ 795670 w 1290970"/>
                <a:gd name="connsiteY4" fmla="*/ 0 h 15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970" h="1511802">
                  <a:moveTo>
                    <a:pt x="1290970" y="1511802"/>
                  </a:moveTo>
                  <a:lnTo>
                    <a:pt x="377951" y="1511802"/>
                  </a:lnTo>
                  <a:lnTo>
                    <a:pt x="0" y="755901"/>
                  </a:lnTo>
                  <a:lnTo>
                    <a:pt x="377951" y="0"/>
                  </a:lnTo>
                  <a:lnTo>
                    <a:pt x="795670" y="0"/>
                  </a:lnTo>
                </a:path>
              </a:pathLst>
            </a:custGeom>
            <a:noFill/>
            <a:ln w="53975" cap="rnd">
              <a:gradFill flip="none" rotWithShape="1">
                <a:gsLst>
                  <a:gs pos="41000">
                    <a:srgbClr val="72C7E7"/>
                  </a:gs>
                  <a:gs pos="0">
                    <a:srgbClr val="4B92DB"/>
                  </a:gs>
                  <a:gs pos="100000">
                    <a:srgbClr val="002776"/>
                  </a:gs>
                </a:gsLst>
                <a:lin ang="135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chemeClr val="accent3"/>
                </a:solidFill>
              </a:endParaRPr>
            </a:p>
          </p:txBody>
        </p:sp>
        <p:sp>
          <p:nvSpPr>
            <p:cNvPr id="24" name="Hexagon 56">
              <a:extLst>
                <a:ext uri="{FF2B5EF4-FFF2-40B4-BE49-F238E27FC236}">
                  <a16:creationId xmlns:a16="http://schemas.microsoft.com/office/drawing/2014/main" id="{6FA2AB78-4FF8-4D73-ABBD-D7B031B52B29}"/>
                </a:ext>
              </a:extLst>
            </p:cNvPr>
            <p:cNvSpPr/>
            <p:nvPr/>
          </p:nvSpPr>
          <p:spPr>
            <a:xfrm rot="5400000">
              <a:off x="2632682" y="2153007"/>
              <a:ext cx="775805" cy="908514"/>
            </a:xfrm>
            <a:custGeom>
              <a:avLst/>
              <a:gdLst>
                <a:gd name="connsiteX0" fmla="*/ 0 w 1668920"/>
                <a:gd name="connsiteY0" fmla="*/ 755901 h 1511802"/>
                <a:gd name="connsiteX1" fmla="*/ 377951 w 1668920"/>
                <a:gd name="connsiteY1" fmla="*/ 0 h 1511802"/>
                <a:gd name="connsiteX2" fmla="*/ 1290970 w 1668920"/>
                <a:gd name="connsiteY2" fmla="*/ 0 h 1511802"/>
                <a:gd name="connsiteX3" fmla="*/ 1668920 w 1668920"/>
                <a:gd name="connsiteY3" fmla="*/ 755901 h 1511802"/>
                <a:gd name="connsiteX4" fmla="*/ 1290970 w 1668920"/>
                <a:gd name="connsiteY4" fmla="*/ 1511802 h 1511802"/>
                <a:gd name="connsiteX5" fmla="*/ 377951 w 1668920"/>
                <a:gd name="connsiteY5" fmla="*/ 1511802 h 1511802"/>
                <a:gd name="connsiteX6" fmla="*/ 0 w 1668920"/>
                <a:gd name="connsiteY6" fmla="*/ 755901 h 1511802"/>
                <a:gd name="connsiteX0" fmla="*/ 1668920 w 1760360"/>
                <a:gd name="connsiteY0" fmla="*/ 755901 h 1511802"/>
                <a:gd name="connsiteX1" fmla="*/ 1290970 w 1760360"/>
                <a:gd name="connsiteY1" fmla="*/ 1511802 h 1511802"/>
                <a:gd name="connsiteX2" fmla="*/ 377951 w 1760360"/>
                <a:gd name="connsiteY2" fmla="*/ 1511802 h 1511802"/>
                <a:gd name="connsiteX3" fmla="*/ 0 w 1760360"/>
                <a:gd name="connsiteY3" fmla="*/ 755901 h 1511802"/>
                <a:gd name="connsiteX4" fmla="*/ 377951 w 1760360"/>
                <a:gd name="connsiteY4" fmla="*/ 0 h 1511802"/>
                <a:gd name="connsiteX5" fmla="*/ 1290970 w 1760360"/>
                <a:gd name="connsiteY5" fmla="*/ 0 h 1511802"/>
                <a:gd name="connsiteX6" fmla="*/ 1760360 w 1760360"/>
                <a:gd name="connsiteY6" fmla="*/ 847341 h 1511802"/>
                <a:gd name="connsiteX0" fmla="*/ 1668920 w 1668920"/>
                <a:gd name="connsiteY0" fmla="*/ 755901 h 1511802"/>
                <a:gd name="connsiteX1" fmla="*/ 1290970 w 1668920"/>
                <a:gd name="connsiteY1" fmla="*/ 1511802 h 1511802"/>
                <a:gd name="connsiteX2" fmla="*/ 377951 w 1668920"/>
                <a:gd name="connsiteY2" fmla="*/ 1511802 h 1511802"/>
                <a:gd name="connsiteX3" fmla="*/ 0 w 1668920"/>
                <a:gd name="connsiteY3" fmla="*/ 755901 h 1511802"/>
                <a:gd name="connsiteX4" fmla="*/ 377951 w 1668920"/>
                <a:gd name="connsiteY4" fmla="*/ 0 h 1511802"/>
                <a:gd name="connsiteX5" fmla="*/ 1290970 w 1668920"/>
                <a:gd name="connsiteY5" fmla="*/ 0 h 1511802"/>
                <a:gd name="connsiteX0" fmla="*/ 1290970 w 1290970"/>
                <a:gd name="connsiteY0" fmla="*/ 1511802 h 1511802"/>
                <a:gd name="connsiteX1" fmla="*/ 377951 w 1290970"/>
                <a:gd name="connsiteY1" fmla="*/ 1511802 h 1511802"/>
                <a:gd name="connsiteX2" fmla="*/ 0 w 1290970"/>
                <a:gd name="connsiteY2" fmla="*/ 755901 h 1511802"/>
                <a:gd name="connsiteX3" fmla="*/ 377951 w 1290970"/>
                <a:gd name="connsiteY3" fmla="*/ 0 h 1511802"/>
                <a:gd name="connsiteX4" fmla="*/ 1290970 w 1290970"/>
                <a:gd name="connsiteY4" fmla="*/ 0 h 1511802"/>
                <a:gd name="connsiteX0" fmla="*/ 1290970 w 1290970"/>
                <a:gd name="connsiteY0" fmla="*/ 1511802 h 1511802"/>
                <a:gd name="connsiteX1" fmla="*/ 377951 w 1290970"/>
                <a:gd name="connsiteY1" fmla="*/ 1511802 h 1511802"/>
                <a:gd name="connsiteX2" fmla="*/ 0 w 1290970"/>
                <a:gd name="connsiteY2" fmla="*/ 755901 h 1511802"/>
                <a:gd name="connsiteX3" fmla="*/ 377951 w 1290970"/>
                <a:gd name="connsiteY3" fmla="*/ 0 h 1511802"/>
                <a:gd name="connsiteX4" fmla="*/ 876632 w 1290970"/>
                <a:gd name="connsiteY4" fmla="*/ 0 h 15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970" h="1511802">
                  <a:moveTo>
                    <a:pt x="1290970" y="1511802"/>
                  </a:moveTo>
                  <a:lnTo>
                    <a:pt x="377951" y="1511802"/>
                  </a:lnTo>
                  <a:lnTo>
                    <a:pt x="0" y="755901"/>
                  </a:lnTo>
                  <a:lnTo>
                    <a:pt x="377951" y="0"/>
                  </a:lnTo>
                  <a:lnTo>
                    <a:pt x="876632" y="0"/>
                  </a:lnTo>
                </a:path>
              </a:pathLst>
            </a:custGeom>
            <a:noFill/>
            <a:ln w="53975" cap="rnd">
              <a:gradFill flip="none" rotWithShape="1">
                <a:gsLst>
                  <a:gs pos="11000">
                    <a:srgbClr val="72C7E7"/>
                  </a:gs>
                  <a:gs pos="57000">
                    <a:srgbClr val="4B92DB"/>
                  </a:gs>
                  <a:gs pos="93000">
                    <a:srgbClr val="002776"/>
                  </a:gs>
                </a:gsLst>
                <a:lin ang="135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chemeClr val="accent3"/>
                </a:solidFill>
              </a:endParaRPr>
            </a:p>
          </p:txBody>
        </p:sp>
      </p:grpSp>
      <p:pic>
        <p:nvPicPr>
          <p:cNvPr id="27" name="Picture 26" descr="A picture containing computer&#10;&#10;Description automatically generated">
            <a:hlinkClick r:id="" action="ppaction://noaction"/>
            <a:extLst>
              <a:ext uri="{FF2B5EF4-FFF2-40B4-BE49-F238E27FC236}">
                <a16:creationId xmlns:a16="http://schemas.microsoft.com/office/drawing/2014/main" id="{76DFFE29-30A1-4CD0-9DA7-C7E51A5C500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49" t="17740" r="12513" b="9471"/>
          <a:stretch/>
        </p:blipFill>
        <p:spPr>
          <a:xfrm>
            <a:off x="10456971" y="1924291"/>
            <a:ext cx="1051443" cy="594594"/>
          </a:xfrm>
          <a:prstGeom prst="rect">
            <a:avLst/>
          </a:prstGeom>
        </p:spPr>
      </p:pic>
      <p:sp>
        <p:nvSpPr>
          <p:cNvPr id="28" name="Hexagon 56">
            <a:extLst>
              <a:ext uri="{FF2B5EF4-FFF2-40B4-BE49-F238E27FC236}">
                <a16:creationId xmlns:a16="http://schemas.microsoft.com/office/drawing/2014/main" id="{2D12CFB7-C752-45FA-AC0C-96F82546303C}"/>
              </a:ext>
            </a:extLst>
          </p:cNvPr>
          <p:cNvSpPr/>
          <p:nvPr/>
        </p:nvSpPr>
        <p:spPr>
          <a:xfrm rot="5400000">
            <a:off x="10434612" y="3038009"/>
            <a:ext cx="824954" cy="966070"/>
          </a:xfrm>
          <a:custGeom>
            <a:avLst/>
            <a:gdLst>
              <a:gd name="connsiteX0" fmla="*/ 0 w 1668920"/>
              <a:gd name="connsiteY0" fmla="*/ 755901 h 1511802"/>
              <a:gd name="connsiteX1" fmla="*/ 377951 w 1668920"/>
              <a:gd name="connsiteY1" fmla="*/ 0 h 1511802"/>
              <a:gd name="connsiteX2" fmla="*/ 1290970 w 1668920"/>
              <a:gd name="connsiteY2" fmla="*/ 0 h 1511802"/>
              <a:gd name="connsiteX3" fmla="*/ 1668920 w 1668920"/>
              <a:gd name="connsiteY3" fmla="*/ 755901 h 1511802"/>
              <a:gd name="connsiteX4" fmla="*/ 1290970 w 1668920"/>
              <a:gd name="connsiteY4" fmla="*/ 1511802 h 1511802"/>
              <a:gd name="connsiteX5" fmla="*/ 377951 w 1668920"/>
              <a:gd name="connsiteY5" fmla="*/ 1511802 h 1511802"/>
              <a:gd name="connsiteX6" fmla="*/ 0 w 1668920"/>
              <a:gd name="connsiteY6" fmla="*/ 755901 h 1511802"/>
              <a:gd name="connsiteX0" fmla="*/ 1668920 w 1760360"/>
              <a:gd name="connsiteY0" fmla="*/ 755901 h 1511802"/>
              <a:gd name="connsiteX1" fmla="*/ 1290970 w 1760360"/>
              <a:gd name="connsiteY1" fmla="*/ 1511802 h 1511802"/>
              <a:gd name="connsiteX2" fmla="*/ 377951 w 1760360"/>
              <a:gd name="connsiteY2" fmla="*/ 1511802 h 1511802"/>
              <a:gd name="connsiteX3" fmla="*/ 0 w 1760360"/>
              <a:gd name="connsiteY3" fmla="*/ 755901 h 1511802"/>
              <a:gd name="connsiteX4" fmla="*/ 377951 w 1760360"/>
              <a:gd name="connsiteY4" fmla="*/ 0 h 1511802"/>
              <a:gd name="connsiteX5" fmla="*/ 1290970 w 1760360"/>
              <a:gd name="connsiteY5" fmla="*/ 0 h 1511802"/>
              <a:gd name="connsiteX6" fmla="*/ 1760360 w 1760360"/>
              <a:gd name="connsiteY6" fmla="*/ 847341 h 1511802"/>
              <a:gd name="connsiteX0" fmla="*/ 1668920 w 1668920"/>
              <a:gd name="connsiteY0" fmla="*/ 755901 h 1511802"/>
              <a:gd name="connsiteX1" fmla="*/ 1290970 w 1668920"/>
              <a:gd name="connsiteY1" fmla="*/ 1511802 h 1511802"/>
              <a:gd name="connsiteX2" fmla="*/ 377951 w 1668920"/>
              <a:gd name="connsiteY2" fmla="*/ 1511802 h 1511802"/>
              <a:gd name="connsiteX3" fmla="*/ 0 w 1668920"/>
              <a:gd name="connsiteY3" fmla="*/ 755901 h 1511802"/>
              <a:gd name="connsiteX4" fmla="*/ 377951 w 1668920"/>
              <a:gd name="connsiteY4" fmla="*/ 0 h 1511802"/>
              <a:gd name="connsiteX5" fmla="*/ 1290970 w 1668920"/>
              <a:gd name="connsiteY5" fmla="*/ 0 h 1511802"/>
              <a:gd name="connsiteX0" fmla="*/ 1290970 w 1290970"/>
              <a:gd name="connsiteY0" fmla="*/ 1511802 h 1511802"/>
              <a:gd name="connsiteX1" fmla="*/ 377951 w 1290970"/>
              <a:gd name="connsiteY1" fmla="*/ 1511802 h 1511802"/>
              <a:gd name="connsiteX2" fmla="*/ 0 w 1290970"/>
              <a:gd name="connsiteY2" fmla="*/ 755901 h 1511802"/>
              <a:gd name="connsiteX3" fmla="*/ 377951 w 1290970"/>
              <a:gd name="connsiteY3" fmla="*/ 0 h 1511802"/>
              <a:gd name="connsiteX4" fmla="*/ 1290970 w 1290970"/>
              <a:gd name="connsiteY4" fmla="*/ 0 h 1511802"/>
              <a:gd name="connsiteX0" fmla="*/ 1290970 w 1290970"/>
              <a:gd name="connsiteY0" fmla="*/ 1511802 h 1511802"/>
              <a:gd name="connsiteX1" fmla="*/ 377951 w 1290970"/>
              <a:gd name="connsiteY1" fmla="*/ 1511802 h 1511802"/>
              <a:gd name="connsiteX2" fmla="*/ 0 w 1290970"/>
              <a:gd name="connsiteY2" fmla="*/ 755901 h 1511802"/>
              <a:gd name="connsiteX3" fmla="*/ 377951 w 1290970"/>
              <a:gd name="connsiteY3" fmla="*/ 0 h 1511802"/>
              <a:gd name="connsiteX4" fmla="*/ 795670 w 1290970"/>
              <a:gd name="connsiteY4" fmla="*/ 0 h 1511802"/>
              <a:gd name="connsiteX0" fmla="*/ 1290970 w 1290970"/>
              <a:gd name="connsiteY0" fmla="*/ 1511802 h 1511802"/>
              <a:gd name="connsiteX1" fmla="*/ 377951 w 1290970"/>
              <a:gd name="connsiteY1" fmla="*/ 1511802 h 1511802"/>
              <a:gd name="connsiteX2" fmla="*/ 0 w 1290970"/>
              <a:gd name="connsiteY2" fmla="*/ 755901 h 1511802"/>
              <a:gd name="connsiteX3" fmla="*/ 377951 w 1290970"/>
              <a:gd name="connsiteY3" fmla="*/ 0 h 1511802"/>
              <a:gd name="connsiteX4" fmla="*/ 1067700 w 1290970"/>
              <a:gd name="connsiteY4" fmla="*/ 0 h 1511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90970" h="1511802">
                <a:moveTo>
                  <a:pt x="1290970" y="1511802"/>
                </a:moveTo>
                <a:lnTo>
                  <a:pt x="377951" y="1511802"/>
                </a:lnTo>
                <a:lnTo>
                  <a:pt x="0" y="755901"/>
                </a:lnTo>
                <a:lnTo>
                  <a:pt x="377951" y="0"/>
                </a:lnTo>
                <a:lnTo>
                  <a:pt x="1067700" y="0"/>
                </a:lnTo>
              </a:path>
            </a:pathLst>
          </a:custGeom>
          <a:noFill/>
          <a:ln w="53975" cap="rnd">
            <a:gradFill flip="none" rotWithShape="1">
              <a:gsLst>
                <a:gs pos="41000">
                  <a:srgbClr val="72C7E7"/>
                </a:gs>
                <a:gs pos="0">
                  <a:srgbClr val="4B92DB"/>
                </a:gs>
                <a:gs pos="100000">
                  <a:srgbClr val="002776"/>
                </a:gs>
              </a:gsLst>
              <a:lin ang="135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solidFill>
                <a:schemeClr val="accent3"/>
              </a:solidFill>
            </a:endParaRPr>
          </a:p>
        </p:txBody>
      </p:sp>
      <p:sp>
        <p:nvSpPr>
          <p:cNvPr id="29" name="Hexagon 56">
            <a:extLst>
              <a:ext uri="{FF2B5EF4-FFF2-40B4-BE49-F238E27FC236}">
                <a16:creationId xmlns:a16="http://schemas.microsoft.com/office/drawing/2014/main" id="{47ED1127-4E7A-4DBB-92D9-670F7C554F87}"/>
              </a:ext>
            </a:extLst>
          </p:cNvPr>
          <p:cNvSpPr/>
          <p:nvPr/>
        </p:nvSpPr>
        <p:spPr>
          <a:xfrm rot="5400000" flipH="1" flipV="1">
            <a:off x="9468542" y="3280336"/>
            <a:ext cx="824954" cy="966070"/>
          </a:xfrm>
          <a:custGeom>
            <a:avLst/>
            <a:gdLst>
              <a:gd name="connsiteX0" fmla="*/ 0 w 1668920"/>
              <a:gd name="connsiteY0" fmla="*/ 755901 h 1511802"/>
              <a:gd name="connsiteX1" fmla="*/ 377951 w 1668920"/>
              <a:gd name="connsiteY1" fmla="*/ 0 h 1511802"/>
              <a:gd name="connsiteX2" fmla="*/ 1290970 w 1668920"/>
              <a:gd name="connsiteY2" fmla="*/ 0 h 1511802"/>
              <a:gd name="connsiteX3" fmla="*/ 1668920 w 1668920"/>
              <a:gd name="connsiteY3" fmla="*/ 755901 h 1511802"/>
              <a:gd name="connsiteX4" fmla="*/ 1290970 w 1668920"/>
              <a:gd name="connsiteY4" fmla="*/ 1511802 h 1511802"/>
              <a:gd name="connsiteX5" fmla="*/ 377951 w 1668920"/>
              <a:gd name="connsiteY5" fmla="*/ 1511802 h 1511802"/>
              <a:gd name="connsiteX6" fmla="*/ 0 w 1668920"/>
              <a:gd name="connsiteY6" fmla="*/ 755901 h 1511802"/>
              <a:gd name="connsiteX0" fmla="*/ 1668920 w 1760360"/>
              <a:gd name="connsiteY0" fmla="*/ 755901 h 1511802"/>
              <a:gd name="connsiteX1" fmla="*/ 1290970 w 1760360"/>
              <a:gd name="connsiteY1" fmla="*/ 1511802 h 1511802"/>
              <a:gd name="connsiteX2" fmla="*/ 377951 w 1760360"/>
              <a:gd name="connsiteY2" fmla="*/ 1511802 h 1511802"/>
              <a:gd name="connsiteX3" fmla="*/ 0 w 1760360"/>
              <a:gd name="connsiteY3" fmla="*/ 755901 h 1511802"/>
              <a:gd name="connsiteX4" fmla="*/ 377951 w 1760360"/>
              <a:gd name="connsiteY4" fmla="*/ 0 h 1511802"/>
              <a:gd name="connsiteX5" fmla="*/ 1290970 w 1760360"/>
              <a:gd name="connsiteY5" fmla="*/ 0 h 1511802"/>
              <a:gd name="connsiteX6" fmla="*/ 1760360 w 1760360"/>
              <a:gd name="connsiteY6" fmla="*/ 847341 h 1511802"/>
              <a:gd name="connsiteX0" fmla="*/ 1668920 w 1668920"/>
              <a:gd name="connsiteY0" fmla="*/ 755901 h 1511802"/>
              <a:gd name="connsiteX1" fmla="*/ 1290970 w 1668920"/>
              <a:gd name="connsiteY1" fmla="*/ 1511802 h 1511802"/>
              <a:gd name="connsiteX2" fmla="*/ 377951 w 1668920"/>
              <a:gd name="connsiteY2" fmla="*/ 1511802 h 1511802"/>
              <a:gd name="connsiteX3" fmla="*/ 0 w 1668920"/>
              <a:gd name="connsiteY3" fmla="*/ 755901 h 1511802"/>
              <a:gd name="connsiteX4" fmla="*/ 377951 w 1668920"/>
              <a:gd name="connsiteY4" fmla="*/ 0 h 1511802"/>
              <a:gd name="connsiteX5" fmla="*/ 1290970 w 1668920"/>
              <a:gd name="connsiteY5" fmla="*/ 0 h 1511802"/>
              <a:gd name="connsiteX0" fmla="*/ 1290970 w 1290970"/>
              <a:gd name="connsiteY0" fmla="*/ 1511802 h 1511802"/>
              <a:gd name="connsiteX1" fmla="*/ 377951 w 1290970"/>
              <a:gd name="connsiteY1" fmla="*/ 1511802 h 1511802"/>
              <a:gd name="connsiteX2" fmla="*/ 0 w 1290970"/>
              <a:gd name="connsiteY2" fmla="*/ 755901 h 1511802"/>
              <a:gd name="connsiteX3" fmla="*/ 377951 w 1290970"/>
              <a:gd name="connsiteY3" fmla="*/ 0 h 1511802"/>
              <a:gd name="connsiteX4" fmla="*/ 1290970 w 1290970"/>
              <a:gd name="connsiteY4" fmla="*/ 0 h 1511802"/>
              <a:gd name="connsiteX0" fmla="*/ 1290970 w 1290970"/>
              <a:gd name="connsiteY0" fmla="*/ 1511802 h 1511802"/>
              <a:gd name="connsiteX1" fmla="*/ 377951 w 1290970"/>
              <a:gd name="connsiteY1" fmla="*/ 1511802 h 1511802"/>
              <a:gd name="connsiteX2" fmla="*/ 0 w 1290970"/>
              <a:gd name="connsiteY2" fmla="*/ 755901 h 1511802"/>
              <a:gd name="connsiteX3" fmla="*/ 377951 w 1290970"/>
              <a:gd name="connsiteY3" fmla="*/ 0 h 1511802"/>
              <a:gd name="connsiteX4" fmla="*/ 876632 w 1290970"/>
              <a:gd name="connsiteY4" fmla="*/ 0 h 1511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90970" h="1511802">
                <a:moveTo>
                  <a:pt x="1290970" y="1511802"/>
                </a:moveTo>
                <a:lnTo>
                  <a:pt x="377951" y="1511802"/>
                </a:lnTo>
                <a:lnTo>
                  <a:pt x="0" y="755901"/>
                </a:lnTo>
                <a:lnTo>
                  <a:pt x="377951" y="0"/>
                </a:lnTo>
                <a:lnTo>
                  <a:pt x="876632" y="0"/>
                </a:lnTo>
              </a:path>
            </a:pathLst>
          </a:custGeom>
          <a:noFill/>
          <a:ln w="53975" cap="rnd">
            <a:gradFill flip="none" rotWithShape="1">
              <a:gsLst>
                <a:gs pos="11000">
                  <a:srgbClr val="72C7E7"/>
                </a:gs>
                <a:gs pos="57000">
                  <a:srgbClr val="4B92DB"/>
                </a:gs>
                <a:gs pos="93000">
                  <a:srgbClr val="002776"/>
                </a:gs>
              </a:gsLst>
              <a:lin ang="135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solidFill>
                <a:schemeClr val="accent3"/>
              </a:solidFill>
            </a:endParaRPr>
          </a:p>
        </p:txBody>
      </p:sp>
      <p:sp>
        <p:nvSpPr>
          <p:cNvPr id="36" name="Freeform 23">
            <a:hlinkClick r:id="" action="ppaction://noaction"/>
            <a:extLst>
              <a:ext uri="{FF2B5EF4-FFF2-40B4-BE49-F238E27FC236}">
                <a16:creationId xmlns:a16="http://schemas.microsoft.com/office/drawing/2014/main" id="{82FCBE69-D4AC-4168-B232-67AC242C66AF}"/>
              </a:ext>
            </a:extLst>
          </p:cNvPr>
          <p:cNvSpPr/>
          <p:nvPr/>
        </p:nvSpPr>
        <p:spPr>
          <a:xfrm>
            <a:off x="9267137" y="4275603"/>
            <a:ext cx="479298" cy="216534"/>
          </a:xfrm>
          <a:custGeom>
            <a:avLst/>
            <a:gdLst>
              <a:gd name="connsiteX0" fmla="*/ 0 w 1517119"/>
              <a:gd name="connsiteY0" fmla="*/ 0 h 535454"/>
              <a:gd name="connsiteX1" fmla="*/ 1517119 w 1517119"/>
              <a:gd name="connsiteY1" fmla="*/ 0 h 535454"/>
              <a:gd name="connsiteX2" fmla="*/ 1517119 w 1517119"/>
              <a:gd name="connsiteY2" fmla="*/ 535454 h 535454"/>
              <a:gd name="connsiteX3" fmla="*/ 0 w 1517119"/>
              <a:gd name="connsiteY3" fmla="*/ 535454 h 535454"/>
              <a:gd name="connsiteX4" fmla="*/ 0 w 1517119"/>
              <a:gd name="connsiteY4" fmla="*/ 0 h 535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17119" h="535454">
                <a:moveTo>
                  <a:pt x="0" y="0"/>
                </a:moveTo>
                <a:lnTo>
                  <a:pt x="1517119" y="0"/>
                </a:lnTo>
                <a:lnTo>
                  <a:pt x="1517119" y="535454"/>
                </a:lnTo>
                <a:lnTo>
                  <a:pt x="0" y="535454"/>
                </a:lnTo>
                <a:lnTo>
                  <a:pt x="0" y="0"/>
                </a:lnTo>
                <a:close/>
              </a:path>
            </a:pathLst>
          </a:custGeom>
        </p:spPr>
        <p:txBody>
          <a:bodyPr vert="horz" wrap="none" lIns="0" tIns="0" rIns="0" bIns="0" rtlCol="0" anchor="t" anchorCtr="0">
            <a:spAutoFit/>
          </a:bodyPr>
          <a:lstStyle/>
          <a:p>
            <a:pPr algn="ctr" defTabSz="914378">
              <a:lnSpc>
                <a:spcPct val="150000"/>
              </a:lnSpc>
              <a:spcBef>
                <a:spcPts val="1200"/>
              </a:spcBef>
              <a:buSzPct val="75000"/>
            </a:pPr>
            <a:r>
              <a:rPr lang="da-DK" sz="1050" dirty="0">
                <a:solidFill>
                  <a:schemeClr val="accent2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MiR600</a:t>
            </a:r>
            <a:endParaRPr lang="en-US" sz="1050" dirty="0">
              <a:solidFill>
                <a:schemeClr val="accent2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37" name="Freeform 23">
            <a:hlinkClick r:id="" action="ppaction://noaction"/>
            <a:extLst>
              <a:ext uri="{FF2B5EF4-FFF2-40B4-BE49-F238E27FC236}">
                <a16:creationId xmlns:a16="http://schemas.microsoft.com/office/drawing/2014/main" id="{F8BA40AA-1C6A-4037-AD3C-5368EC658CA5}"/>
              </a:ext>
            </a:extLst>
          </p:cNvPr>
          <p:cNvSpPr/>
          <p:nvPr/>
        </p:nvSpPr>
        <p:spPr>
          <a:xfrm>
            <a:off x="10819781" y="4275603"/>
            <a:ext cx="556242" cy="216534"/>
          </a:xfrm>
          <a:custGeom>
            <a:avLst/>
            <a:gdLst>
              <a:gd name="connsiteX0" fmla="*/ 0 w 1517119"/>
              <a:gd name="connsiteY0" fmla="*/ 0 h 535454"/>
              <a:gd name="connsiteX1" fmla="*/ 1517119 w 1517119"/>
              <a:gd name="connsiteY1" fmla="*/ 0 h 535454"/>
              <a:gd name="connsiteX2" fmla="*/ 1517119 w 1517119"/>
              <a:gd name="connsiteY2" fmla="*/ 535454 h 535454"/>
              <a:gd name="connsiteX3" fmla="*/ 0 w 1517119"/>
              <a:gd name="connsiteY3" fmla="*/ 535454 h 535454"/>
              <a:gd name="connsiteX4" fmla="*/ 0 w 1517119"/>
              <a:gd name="connsiteY4" fmla="*/ 0 h 535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17119" h="535454">
                <a:moveTo>
                  <a:pt x="0" y="0"/>
                </a:moveTo>
                <a:lnTo>
                  <a:pt x="1517119" y="0"/>
                </a:lnTo>
                <a:lnTo>
                  <a:pt x="1517119" y="535454"/>
                </a:lnTo>
                <a:lnTo>
                  <a:pt x="0" y="535454"/>
                </a:lnTo>
                <a:lnTo>
                  <a:pt x="0" y="0"/>
                </a:lnTo>
                <a:close/>
              </a:path>
            </a:pathLst>
          </a:custGeom>
        </p:spPr>
        <p:txBody>
          <a:bodyPr vert="horz" wrap="none" lIns="0" tIns="0" rIns="0" bIns="0" rtlCol="0" anchor="t" anchorCtr="0">
            <a:spAutoFit/>
          </a:bodyPr>
          <a:lstStyle/>
          <a:p>
            <a:pPr algn="ctr" defTabSz="914378">
              <a:lnSpc>
                <a:spcPct val="150000"/>
              </a:lnSpc>
              <a:spcBef>
                <a:spcPts val="1200"/>
              </a:spcBef>
              <a:buSzPct val="75000"/>
            </a:pPr>
            <a:r>
              <a:rPr lang="da-DK" sz="1050" dirty="0">
                <a:solidFill>
                  <a:schemeClr val="accent2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MiR1350</a:t>
            </a:r>
            <a:endParaRPr lang="en-US" sz="1050" dirty="0">
              <a:solidFill>
                <a:schemeClr val="accent2"/>
              </a:solidFill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pic>
        <p:nvPicPr>
          <p:cNvPr id="40" name="Picture 39" descr="A picture containing projector&#10;&#10;Description automatically generated">
            <a:extLst>
              <a:ext uri="{FF2B5EF4-FFF2-40B4-BE49-F238E27FC236}">
                <a16:creationId xmlns:a16="http://schemas.microsoft.com/office/drawing/2014/main" id="{F45FC0F7-3F4E-44A4-B11F-FDD0389782B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26" t="37183" r="14117" b="25874"/>
          <a:stretch/>
        </p:blipFill>
        <p:spPr>
          <a:xfrm>
            <a:off x="8626917" y="3478754"/>
            <a:ext cx="1355521" cy="643196"/>
          </a:xfrm>
          <a:prstGeom prst="rect">
            <a:avLst/>
          </a:prstGeom>
        </p:spPr>
      </p:pic>
      <p:pic>
        <p:nvPicPr>
          <p:cNvPr id="41" name="Picture 40" descr="A picture containing electronics, projector&#10;&#10;Description automatically generated">
            <a:extLst>
              <a:ext uri="{FF2B5EF4-FFF2-40B4-BE49-F238E27FC236}">
                <a16:creationId xmlns:a16="http://schemas.microsoft.com/office/drawing/2014/main" id="{D9A9A20C-BC82-4BB0-851F-E2C6FD42A81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55" t="37183" r="14354" b="25874"/>
          <a:stretch/>
        </p:blipFill>
        <p:spPr>
          <a:xfrm>
            <a:off x="10419842" y="3592324"/>
            <a:ext cx="1356119" cy="643196"/>
          </a:xfrm>
          <a:prstGeom prst="rect">
            <a:avLst/>
          </a:prstGeom>
        </p:spPr>
      </p:pic>
      <p:sp>
        <p:nvSpPr>
          <p:cNvPr id="43" name="Freeform 26">
            <a:extLst>
              <a:ext uri="{FF2B5EF4-FFF2-40B4-BE49-F238E27FC236}">
                <a16:creationId xmlns:a16="http://schemas.microsoft.com/office/drawing/2014/main" id="{B4D7641B-3611-41D4-9C31-67A5DF4B41E6}"/>
              </a:ext>
            </a:extLst>
          </p:cNvPr>
          <p:cNvSpPr/>
          <p:nvPr/>
        </p:nvSpPr>
        <p:spPr>
          <a:xfrm>
            <a:off x="4197945" y="5918280"/>
            <a:ext cx="683520" cy="283924"/>
          </a:xfrm>
          <a:custGeom>
            <a:avLst/>
            <a:gdLst>
              <a:gd name="connsiteX0" fmla="*/ 0 w 1517119"/>
              <a:gd name="connsiteY0" fmla="*/ 0 h 535454"/>
              <a:gd name="connsiteX1" fmla="*/ 1517119 w 1517119"/>
              <a:gd name="connsiteY1" fmla="*/ 0 h 535454"/>
              <a:gd name="connsiteX2" fmla="*/ 1517119 w 1517119"/>
              <a:gd name="connsiteY2" fmla="*/ 535454 h 535454"/>
              <a:gd name="connsiteX3" fmla="*/ 0 w 1517119"/>
              <a:gd name="connsiteY3" fmla="*/ 535454 h 535454"/>
              <a:gd name="connsiteX4" fmla="*/ 0 w 1517119"/>
              <a:gd name="connsiteY4" fmla="*/ 0 h 535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17119" h="535454">
                <a:moveTo>
                  <a:pt x="0" y="0"/>
                </a:moveTo>
                <a:lnTo>
                  <a:pt x="1517119" y="0"/>
                </a:lnTo>
                <a:lnTo>
                  <a:pt x="1517119" y="535454"/>
                </a:lnTo>
                <a:lnTo>
                  <a:pt x="0" y="53545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none" lIns="68580" tIns="68580" rIns="68580" bIns="68580" numCol="1" spcCol="1270" anchor="ctr" anchorCtr="0">
            <a:sp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a-DK" sz="1050" b="1" kern="1200" dirty="0">
                <a:solidFill>
                  <a:schemeClr val="accent2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MiR </a:t>
            </a:r>
            <a:r>
              <a:rPr lang="da-DK" sz="1050" kern="1200" dirty="0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ifts</a:t>
            </a:r>
            <a:endParaRPr lang="en-US" sz="1050" kern="1200" dirty="0">
              <a:solidFill>
                <a:schemeClr val="accent2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4" name="Freeform 29">
            <a:extLst>
              <a:ext uri="{FF2B5EF4-FFF2-40B4-BE49-F238E27FC236}">
                <a16:creationId xmlns:a16="http://schemas.microsoft.com/office/drawing/2014/main" id="{3D5FE0FB-E807-46D7-B1C4-FACA9B4311BB}"/>
              </a:ext>
            </a:extLst>
          </p:cNvPr>
          <p:cNvSpPr/>
          <p:nvPr/>
        </p:nvSpPr>
        <p:spPr>
          <a:xfrm>
            <a:off x="8256417" y="5918280"/>
            <a:ext cx="869469" cy="283924"/>
          </a:xfrm>
          <a:custGeom>
            <a:avLst/>
            <a:gdLst>
              <a:gd name="connsiteX0" fmla="*/ 0 w 1517119"/>
              <a:gd name="connsiteY0" fmla="*/ 0 h 535454"/>
              <a:gd name="connsiteX1" fmla="*/ 1517119 w 1517119"/>
              <a:gd name="connsiteY1" fmla="*/ 0 h 535454"/>
              <a:gd name="connsiteX2" fmla="*/ 1517119 w 1517119"/>
              <a:gd name="connsiteY2" fmla="*/ 535454 h 535454"/>
              <a:gd name="connsiteX3" fmla="*/ 0 w 1517119"/>
              <a:gd name="connsiteY3" fmla="*/ 535454 h 535454"/>
              <a:gd name="connsiteX4" fmla="*/ 0 w 1517119"/>
              <a:gd name="connsiteY4" fmla="*/ 0 h 535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17119" h="535454">
                <a:moveTo>
                  <a:pt x="0" y="0"/>
                </a:moveTo>
                <a:lnTo>
                  <a:pt x="1517119" y="0"/>
                </a:lnTo>
                <a:lnTo>
                  <a:pt x="1517119" y="535454"/>
                </a:lnTo>
                <a:lnTo>
                  <a:pt x="0" y="53545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none" lIns="68580" tIns="68580" rIns="68580" bIns="68580" numCol="1" spcCol="1270" anchor="ctr" anchorCtr="0">
            <a:sp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a-DK" sz="1050" b="1" kern="1200" dirty="0">
                <a:solidFill>
                  <a:schemeClr val="accent2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MiR </a:t>
            </a:r>
            <a:r>
              <a:rPr lang="da-DK" sz="1050" kern="1200" dirty="0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harge</a:t>
            </a:r>
            <a:endParaRPr lang="en-US" sz="1050" kern="1200" dirty="0">
              <a:solidFill>
                <a:schemeClr val="accent2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5" name="Freeform 32">
            <a:extLst>
              <a:ext uri="{FF2B5EF4-FFF2-40B4-BE49-F238E27FC236}">
                <a16:creationId xmlns:a16="http://schemas.microsoft.com/office/drawing/2014/main" id="{8BAB2588-88E2-422E-9184-C5A541B2B0A6}"/>
              </a:ext>
            </a:extLst>
          </p:cNvPr>
          <p:cNvSpPr/>
          <p:nvPr/>
        </p:nvSpPr>
        <p:spPr>
          <a:xfrm>
            <a:off x="9542715" y="5918280"/>
            <a:ext cx="723595" cy="283924"/>
          </a:xfrm>
          <a:custGeom>
            <a:avLst/>
            <a:gdLst>
              <a:gd name="connsiteX0" fmla="*/ 0 w 1517119"/>
              <a:gd name="connsiteY0" fmla="*/ 0 h 535454"/>
              <a:gd name="connsiteX1" fmla="*/ 1517119 w 1517119"/>
              <a:gd name="connsiteY1" fmla="*/ 0 h 535454"/>
              <a:gd name="connsiteX2" fmla="*/ 1517119 w 1517119"/>
              <a:gd name="connsiteY2" fmla="*/ 535454 h 535454"/>
              <a:gd name="connsiteX3" fmla="*/ 0 w 1517119"/>
              <a:gd name="connsiteY3" fmla="*/ 535454 h 535454"/>
              <a:gd name="connsiteX4" fmla="*/ 0 w 1517119"/>
              <a:gd name="connsiteY4" fmla="*/ 0 h 535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17119" h="535454">
                <a:moveTo>
                  <a:pt x="0" y="0"/>
                </a:moveTo>
                <a:lnTo>
                  <a:pt x="1517119" y="0"/>
                </a:lnTo>
                <a:lnTo>
                  <a:pt x="1517119" y="535454"/>
                </a:lnTo>
                <a:lnTo>
                  <a:pt x="0" y="53545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none" lIns="68580" tIns="68580" rIns="68580" bIns="68580" numCol="1" spcCol="1270" anchor="ctr" anchorCtr="0">
            <a:sp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a-DK" sz="1050" b="1" kern="1200" dirty="0">
                <a:solidFill>
                  <a:schemeClr val="accent2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MiR </a:t>
            </a:r>
            <a:r>
              <a:rPr lang="da-DK" sz="1050" kern="1200" dirty="0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leet</a:t>
            </a:r>
            <a:endParaRPr lang="en-US" sz="1050" kern="1200" dirty="0">
              <a:solidFill>
                <a:schemeClr val="accent2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7" name="Freeform 26">
            <a:extLst>
              <a:ext uri="{FF2B5EF4-FFF2-40B4-BE49-F238E27FC236}">
                <a16:creationId xmlns:a16="http://schemas.microsoft.com/office/drawing/2014/main" id="{FFEB9D42-7BD0-4C72-A177-1D10B67F1EA9}"/>
              </a:ext>
            </a:extLst>
          </p:cNvPr>
          <p:cNvSpPr/>
          <p:nvPr/>
        </p:nvSpPr>
        <p:spPr>
          <a:xfrm>
            <a:off x="5370027" y="5918280"/>
            <a:ext cx="1210909" cy="283924"/>
          </a:xfrm>
          <a:custGeom>
            <a:avLst/>
            <a:gdLst>
              <a:gd name="connsiteX0" fmla="*/ 0 w 1517119"/>
              <a:gd name="connsiteY0" fmla="*/ 0 h 535454"/>
              <a:gd name="connsiteX1" fmla="*/ 1517119 w 1517119"/>
              <a:gd name="connsiteY1" fmla="*/ 0 h 535454"/>
              <a:gd name="connsiteX2" fmla="*/ 1517119 w 1517119"/>
              <a:gd name="connsiteY2" fmla="*/ 535454 h 535454"/>
              <a:gd name="connsiteX3" fmla="*/ 0 w 1517119"/>
              <a:gd name="connsiteY3" fmla="*/ 535454 h 535454"/>
              <a:gd name="connsiteX4" fmla="*/ 0 w 1517119"/>
              <a:gd name="connsiteY4" fmla="*/ 0 h 535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17119" h="535454">
                <a:moveTo>
                  <a:pt x="0" y="0"/>
                </a:moveTo>
                <a:lnTo>
                  <a:pt x="1517119" y="0"/>
                </a:lnTo>
                <a:lnTo>
                  <a:pt x="1517119" y="535454"/>
                </a:lnTo>
                <a:lnTo>
                  <a:pt x="0" y="53545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none" lIns="68580" tIns="68580" rIns="68580" bIns="68580" numCol="1" spcCol="1270" anchor="ctr" anchorCtr="0">
            <a:sp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a-DK" sz="1050" b="1" kern="1200" dirty="0">
                <a:solidFill>
                  <a:schemeClr val="accent2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MiR </a:t>
            </a:r>
            <a:r>
              <a:rPr lang="da-DK" sz="1050" dirty="0">
                <a:solidFill>
                  <a:schemeClr val="accent2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Shelf </a:t>
            </a:r>
            <a:r>
              <a:rPr lang="da-DK" sz="1050" dirty="0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arrier</a:t>
            </a:r>
            <a:endParaRPr lang="en-US" sz="1050" kern="1200" dirty="0">
              <a:solidFill>
                <a:schemeClr val="accent2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8" name="Freeform 26">
            <a:extLst>
              <a:ext uri="{FF2B5EF4-FFF2-40B4-BE49-F238E27FC236}">
                <a16:creationId xmlns:a16="http://schemas.microsoft.com/office/drawing/2014/main" id="{14549B88-A107-4662-B552-B7E5E0E6DB33}"/>
              </a:ext>
            </a:extLst>
          </p:cNvPr>
          <p:cNvSpPr/>
          <p:nvPr/>
        </p:nvSpPr>
        <p:spPr>
          <a:xfrm>
            <a:off x="6942228" y="5918280"/>
            <a:ext cx="755656" cy="283924"/>
          </a:xfrm>
          <a:custGeom>
            <a:avLst/>
            <a:gdLst>
              <a:gd name="connsiteX0" fmla="*/ 0 w 1517119"/>
              <a:gd name="connsiteY0" fmla="*/ 0 h 535454"/>
              <a:gd name="connsiteX1" fmla="*/ 1517119 w 1517119"/>
              <a:gd name="connsiteY1" fmla="*/ 0 h 535454"/>
              <a:gd name="connsiteX2" fmla="*/ 1517119 w 1517119"/>
              <a:gd name="connsiteY2" fmla="*/ 535454 h 535454"/>
              <a:gd name="connsiteX3" fmla="*/ 0 w 1517119"/>
              <a:gd name="connsiteY3" fmla="*/ 535454 h 535454"/>
              <a:gd name="connsiteX4" fmla="*/ 0 w 1517119"/>
              <a:gd name="connsiteY4" fmla="*/ 0 h 535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17119" h="535454">
                <a:moveTo>
                  <a:pt x="0" y="0"/>
                </a:moveTo>
                <a:lnTo>
                  <a:pt x="1517119" y="0"/>
                </a:lnTo>
                <a:lnTo>
                  <a:pt x="1517119" y="535454"/>
                </a:lnTo>
                <a:lnTo>
                  <a:pt x="0" y="53545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none" lIns="68580" tIns="68580" rIns="68580" bIns="68580" numCol="1" spcCol="1270" anchor="ctr" anchorCtr="0">
            <a:spAutoFit/>
          </a:bodyPr>
          <a:lstStyle/>
          <a:p>
            <a:pPr marL="0" lvl="0" indent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da-DK" sz="1050" b="1" kern="1200" dirty="0">
                <a:solidFill>
                  <a:schemeClr val="accent2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MiR </a:t>
            </a:r>
            <a:r>
              <a:rPr lang="da-DK" sz="1050" dirty="0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ook</a:t>
            </a:r>
            <a:endParaRPr lang="en-US" sz="1050" kern="1200" dirty="0">
              <a:solidFill>
                <a:schemeClr val="accent2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325BEDE7-1847-4078-9249-737FC33E9ED9}"/>
              </a:ext>
            </a:extLst>
          </p:cNvPr>
          <p:cNvGrpSpPr/>
          <p:nvPr/>
        </p:nvGrpSpPr>
        <p:grpSpPr>
          <a:xfrm flipH="1" flipV="1">
            <a:off x="7489335" y="4749403"/>
            <a:ext cx="2898211" cy="1067284"/>
            <a:chOff x="743374" y="2425303"/>
            <a:chExt cx="2725542" cy="1003698"/>
          </a:xfrm>
        </p:grpSpPr>
        <p:sp>
          <p:nvSpPr>
            <p:cNvPr id="61" name="Hexagon 56">
              <a:extLst>
                <a:ext uri="{FF2B5EF4-FFF2-40B4-BE49-F238E27FC236}">
                  <a16:creationId xmlns:a16="http://schemas.microsoft.com/office/drawing/2014/main" id="{EEF0770D-C56F-4BE5-9A1E-7785BC639151}"/>
                </a:ext>
              </a:extLst>
            </p:cNvPr>
            <p:cNvSpPr/>
            <p:nvPr/>
          </p:nvSpPr>
          <p:spPr>
            <a:xfrm rot="5400000" flipH="1" flipV="1">
              <a:off x="1718242" y="2586842"/>
              <a:ext cx="775805" cy="908514"/>
            </a:xfrm>
            <a:custGeom>
              <a:avLst/>
              <a:gdLst>
                <a:gd name="connsiteX0" fmla="*/ 0 w 1668920"/>
                <a:gd name="connsiteY0" fmla="*/ 755901 h 1511802"/>
                <a:gd name="connsiteX1" fmla="*/ 377951 w 1668920"/>
                <a:gd name="connsiteY1" fmla="*/ 0 h 1511802"/>
                <a:gd name="connsiteX2" fmla="*/ 1290970 w 1668920"/>
                <a:gd name="connsiteY2" fmla="*/ 0 h 1511802"/>
                <a:gd name="connsiteX3" fmla="*/ 1668920 w 1668920"/>
                <a:gd name="connsiteY3" fmla="*/ 755901 h 1511802"/>
                <a:gd name="connsiteX4" fmla="*/ 1290970 w 1668920"/>
                <a:gd name="connsiteY4" fmla="*/ 1511802 h 1511802"/>
                <a:gd name="connsiteX5" fmla="*/ 377951 w 1668920"/>
                <a:gd name="connsiteY5" fmla="*/ 1511802 h 1511802"/>
                <a:gd name="connsiteX6" fmla="*/ 0 w 1668920"/>
                <a:gd name="connsiteY6" fmla="*/ 755901 h 1511802"/>
                <a:gd name="connsiteX0" fmla="*/ 1668920 w 1760360"/>
                <a:gd name="connsiteY0" fmla="*/ 755901 h 1511802"/>
                <a:gd name="connsiteX1" fmla="*/ 1290970 w 1760360"/>
                <a:gd name="connsiteY1" fmla="*/ 1511802 h 1511802"/>
                <a:gd name="connsiteX2" fmla="*/ 377951 w 1760360"/>
                <a:gd name="connsiteY2" fmla="*/ 1511802 h 1511802"/>
                <a:gd name="connsiteX3" fmla="*/ 0 w 1760360"/>
                <a:gd name="connsiteY3" fmla="*/ 755901 h 1511802"/>
                <a:gd name="connsiteX4" fmla="*/ 377951 w 1760360"/>
                <a:gd name="connsiteY4" fmla="*/ 0 h 1511802"/>
                <a:gd name="connsiteX5" fmla="*/ 1290970 w 1760360"/>
                <a:gd name="connsiteY5" fmla="*/ 0 h 1511802"/>
                <a:gd name="connsiteX6" fmla="*/ 1760360 w 1760360"/>
                <a:gd name="connsiteY6" fmla="*/ 847341 h 1511802"/>
                <a:gd name="connsiteX0" fmla="*/ 1668920 w 1668920"/>
                <a:gd name="connsiteY0" fmla="*/ 755901 h 1511802"/>
                <a:gd name="connsiteX1" fmla="*/ 1290970 w 1668920"/>
                <a:gd name="connsiteY1" fmla="*/ 1511802 h 1511802"/>
                <a:gd name="connsiteX2" fmla="*/ 377951 w 1668920"/>
                <a:gd name="connsiteY2" fmla="*/ 1511802 h 1511802"/>
                <a:gd name="connsiteX3" fmla="*/ 0 w 1668920"/>
                <a:gd name="connsiteY3" fmla="*/ 755901 h 1511802"/>
                <a:gd name="connsiteX4" fmla="*/ 377951 w 1668920"/>
                <a:gd name="connsiteY4" fmla="*/ 0 h 1511802"/>
                <a:gd name="connsiteX5" fmla="*/ 1290970 w 1668920"/>
                <a:gd name="connsiteY5" fmla="*/ 0 h 1511802"/>
                <a:gd name="connsiteX0" fmla="*/ 1290970 w 1290970"/>
                <a:gd name="connsiteY0" fmla="*/ 1511802 h 1511802"/>
                <a:gd name="connsiteX1" fmla="*/ 377951 w 1290970"/>
                <a:gd name="connsiteY1" fmla="*/ 1511802 h 1511802"/>
                <a:gd name="connsiteX2" fmla="*/ 0 w 1290970"/>
                <a:gd name="connsiteY2" fmla="*/ 755901 h 1511802"/>
                <a:gd name="connsiteX3" fmla="*/ 377951 w 1290970"/>
                <a:gd name="connsiteY3" fmla="*/ 0 h 1511802"/>
                <a:gd name="connsiteX4" fmla="*/ 1290970 w 1290970"/>
                <a:gd name="connsiteY4" fmla="*/ 0 h 1511802"/>
                <a:gd name="connsiteX0" fmla="*/ 1290970 w 1290970"/>
                <a:gd name="connsiteY0" fmla="*/ 1511802 h 1511802"/>
                <a:gd name="connsiteX1" fmla="*/ 377951 w 1290970"/>
                <a:gd name="connsiteY1" fmla="*/ 1511802 h 1511802"/>
                <a:gd name="connsiteX2" fmla="*/ 0 w 1290970"/>
                <a:gd name="connsiteY2" fmla="*/ 755901 h 1511802"/>
                <a:gd name="connsiteX3" fmla="*/ 377951 w 1290970"/>
                <a:gd name="connsiteY3" fmla="*/ 0 h 1511802"/>
                <a:gd name="connsiteX4" fmla="*/ 795670 w 1290970"/>
                <a:gd name="connsiteY4" fmla="*/ 0 h 15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970" h="1511802">
                  <a:moveTo>
                    <a:pt x="1290970" y="1511802"/>
                  </a:moveTo>
                  <a:lnTo>
                    <a:pt x="377951" y="1511802"/>
                  </a:lnTo>
                  <a:lnTo>
                    <a:pt x="0" y="755901"/>
                  </a:lnTo>
                  <a:lnTo>
                    <a:pt x="377951" y="0"/>
                  </a:lnTo>
                  <a:lnTo>
                    <a:pt x="795670" y="0"/>
                  </a:lnTo>
                </a:path>
              </a:pathLst>
            </a:custGeom>
            <a:noFill/>
            <a:ln w="53975" cap="rnd">
              <a:gradFill flip="none" rotWithShape="1">
                <a:gsLst>
                  <a:gs pos="41000">
                    <a:srgbClr val="72C7E7"/>
                  </a:gs>
                  <a:gs pos="0">
                    <a:srgbClr val="4B92DB"/>
                  </a:gs>
                  <a:gs pos="100000">
                    <a:srgbClr val="002776"/>
                  </a:gs>
                </a:gsLst>
                <a:lin ang="135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chemeClr val="accent3"/>
                </a:solidFill>
              </a:endParaRPr>
            </a:p>
          </p:txBody>
        </p:sp>
        <p:sp>
          <p:nvSpPr>
            <p:cNvPr id="62" name="Hexagon 56">
              <a:extLst>
                <a:ext uri="{FF2B5EF4-FFF2-40B4-BE49-F238E27FC236}">
                  <a16:creationId xmlns:a16="http://schemas.microsoft.com/office/drawing/2014/main" id="{2F74391A-BD76-4983-A92F-2F83DE812013}"/>
                </a:ext>
              </a:extLst>
            </p:cNvPr>
            <p:cNvSpPr/>
            <p:nvPr/>
          </p:nvSpPr>
          <p:spPr>
            <a:xfrm rot="5400000">
              <a:off x="809728" y="2358949"/>
              <a:ext cx="775805" cy="908514"/>
            </a:xfrm>
            <a:custGeom>
              <a:avLst/>
              <a:gdLst>
                <a:gd name="connsiteX0" fmla="*/ 0 w 1668920"/>
                <a:gd name="connsiteY0" fmla="*/ 755901 h 1511802"/>
                <a:gd name="connsiteX1" fmla="*/ 377951 w 1668920"/>
                <a:gd name="connsiteY1" fmla="*/ 0 h 1511802"/>
                <a:gd name="connsiteX2" fmla="*/ 1290970 w 1668920"/>
                <a:gd name="connsiteY2" fmla="*/ 0 h 1511802"/>
                <a:gd name="connsiteX3" fmla="*/ 1668920 w 1668920"/>
                <a:gd name="connsiteY3" fmla="*/ 755901 h 1511802"/>
                <a:gd name="connsiteX4" fmla="*/ 1290970 w 1668920"/>
                <a:gd name="connsiteY4" fmla="*/ 1511802 h 1511802"/>
                <a:gd name="connsiteX5" fmla="*/ 377951 w 1668920"/>
                <a:gd name="connsiteY5" fmla="*/ 1511802 h 1511802"/>
                <a:gd name="connsiteX6" fmla="*/ 0 w 1668920"/>
                <a:gd name="connsiteY6" fmla="*/ 755901 h 1511802"/>
                <a:gd name="connsiteX0" fmla="*/ 1668920 w 1760360"/>
                <a:gd name="connsiteY0" fmla="*/ 755901 h 1511802"/>
                <a:gd name="connsiteX1" fmla="*/ 1290970 w 1760360"/>
                <a:gd name="connsiteY1" fmla="*/ 1511802 h 1511802"/>
                <a:gd name="connsiteX2" fmla="*/ 377951 w 1760360"/>
                <a:gd name="connsiteY2" fmla="*/ 1511802 h 1511802"/>
                <a:gd name="connsiteX3" fmla="*/ 0 w 1760360"/>
                <a:gd name="connsiteY3" fmla="*/ 755901 h 1511802"/>
                <a:gd name="connsiteX4" fmla="*/ 377951 w 1760360"/>
                <a:gd name="connsiteY4" fmla="*/ 0 h 1511802"/>
                <a:gd name="connsiteX5" fmla="*/ 1290970 w 1760360"/>
                <a:gd name="connsiteY5" fmla="*/ 0 h 1511802"/>
                <a:gd name="connsiteX6" fmla="*/ 1760360 w 1760360"/>
                <a:gd name="connsiteY6" fmla="*/ 847341 h 1511802"/>
                <a:gd name="connsiteX0" fmla="*/ 1668920 w 1668920"/>
                <a:gd name="connsiteY0" fmla="*/ 755901 h 1511802"/>
                <a:gd name="connsiteX1" fmla="*/ 1290970 w 1668920"/>
                <a:gd name="connsiteY1" fmla="*/ 1511802 h 1511802"/>
                <a:gd name="connsiteX2" fmla="*/ 377951 w 1668920"/>
                <a:gd name="connsiteY2" fmla="*/ 1511802 h 1511802"/>
                <a:gd name="connsiteX3" fmla="*/ 0 w 1668920"/>
                <a:gd name="connsiteY3" fmla="*/ 755901 h 1511802"/>
                <a:gd name="connsiteX4" fmla="*/ 377951 w 1668920"/>
                <a:gd name="connsiteY4" fmla="*/ 0 h 1511802"/>
                <a:gd name="connsiteX5" fmla="*/ 1290970 w 1668920"/>
                <a:gd name="connsiteY5" fmla="*/ 0 h 1511802"/>
                <a:gd name="connsiteX0" fmla="*/ 1290970 w 1290970"/>
                <a:gd name="connsiteY0" fmla="*/ 1511802 h 1511802"/>
                <a:gd name="connsiteX1" fmla="*/ 377951 w 1290970"/>
                <a:gd name="connsiteY1" fmla="*/ 1511802 h 1511802"/>
                <a:gd name="connsiteX2" fmla="*/ 0 w 1290970"/>
                <a:gd name="connsiteY2" fmla="*/ 755901 h 1511802"/>
                <a:gd name="connsiteX3" fmla="*/ 377951 w 1290970"/>
                <a:gd name="connsiteY3" fmla="*/ 0 h 1511802"/>
                <a:gd name="connsiteX4" fmla="*/ 1290970 w 1290970"/>
                <a:gd name="connsiteY4" fmla="*/ 0 h 1511802"/>
                <a:gd name="connsiteX0" fmla="*/ 1290970 w 1290970"/>
                <a:gd name="connsiteY0" fmla="*/ 1511802 h 1511802"/>
                <a:gd name="connsiteX1" fmla="*/ 377951 w 1290970"/>
                <a:gd name="connsiteY1" fmla="*/ 1511802 h 1511802"/>
                <a:gd name="connsiteX2" fmla="*/ 0 w 1290970"/>
                <a:gd name="connsiteY2" fmla="*/ 755901 h 1511802"/>
                <a:gd name="connsiteX3" fmla="*/ 377951 w 1290970"/>
                <a:gd name="connsiteY3" fmla="*/ 0 h 1511802"/>
                <a:gd name="connsiteX4" fmla="*/ 876632 w 1290970"/>
                <a:gd name="connsiteY4" fmla="*/ 0 h 15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970" h="1511802">
                  <a:moveTo>
                    <a:pt x="1290970" y="1511802"/>
                  </a:moveTo>
                  <a:lnTo>
                    <a:pt x="377951" y="1511802"/>
                  </a:lnTo>
                  <a:lnTo>
                    <a:pt x="0" y="755901"/>
                  </a:lnTo>
                  <a:lnTo>
                    <a:pt x="377951" y="0"/>
                  </a:lnTo>
                  <a:lnTo>
                    <a:pt x="876632" y="0"/>
                  </a:lnTo>
                </a:path>
              </a:pathLst>
            </a:custGeom>
            <a:noFill/>
            <a:ln w="53975" cap="rnd">
              <a:gradFill flip="none" rotWithShape="1">
                <a:gsLst>
                  <a:gs pos="5000">
                    <a:srgbClr val="72C7E7"/>
                  </a:gs>
                  <a:gs pos="60000">
                    <a:srgbClr val="4B92DB"/>
                  </a:gs>
                  <a:gs pos="91000">
                    <a:srgbClr val="002776"/>
                  </a:gs>
                </a:gsLst>
                <a:lin ang="135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chemeClr val="accent3"/>
                </a:solidFill>
              </a:endParaRPr>
            </a:p>
          </p:txBody>
        </p:sp>
        <p:sp>
          <p:nvSpPr>
            <p:cNvPr id="63" name="Hexagon 56">
              <a:extLst>
                <a:ext uri="{FF2B5EF4-FFF2-40B4-BE49-F238E27FC236}">
                  <a16:creationId xmlns:a16="http://schemas.microsoft.com/office/drawing/2014/main" id="{D29F2ED6-BA3C-4205-AB00-54EE3AE039C0}"/>
                </a:ext>
              </a:extLst>
            </p:cNvPr>
            <p:cNvSpPr/>
            <p:nvPr/>
          </p:nvSpPr>
          <p:spPr>
            <a:xfrm rot="5400000">
              <a:off x="2626756" y="2358952"/>
              <a:ext cx="775805" cy="908514"/>
            </a:xfrm>
            <a:custGeom>
              <a:avLst/>
              <a:gdLst>
                <a:gd name="connsiteX0" fmla="*/ 0 w 1668920"/>
                <a:gd name="connsiteY0" fmla="*/ 755901 h 1511802"/>
                <a:gd name="connsiteX1" fmla="*/ 377951 w 1668920"/>
                <a:gd name="connsiteY1" fmla="*/ 0 h 1511802"/>
                <a:gd name="connsiteX2" fmla="*/ 1290970 w 1668920"/>
                <a:gd name="connsiteY2" fmla="*/ 0 h 1511802"/>
                <a:gd name="connsiteX3" fmla="*/ 1668920 w 1668920"/>
                <a:gd name="connsiteY3" fmla="*/ 755901 h 1511802"/>
                <a:gd name="connsiteX4" fmla="*/ 1290970 w 1668920"/>
                <a:gd name="connsiteY4" fmla="*/ 1511802 h 1511802"/>
                <a:gd name="connsiteX5" fmla="*/ 377951 w 1668920"/>
                <a:gd name="connsiteY5" fmla="*/ 1511802 h 1511802"/>
                <a:gd name="connsiteX6" fmla="*/ 0 w 1668920"/>
                <a:gd name="connsiteY6" fmla="*/ 755901 h 1511802"/>
                <a:gd name="connsiteX0" fmla="*/ 1668920 w 1760360"/>
                <a:gd name="connsiteY0" fmla="*/ 755901 h 1511802"/>
                <a:gd name="connsiteX1" fmla="*/ 1290970 w 1760360"/>
                <a:gd name="connsiteY1" fmla="*/ 1511802 h 1511802"/>
                <a:gd name="connsiteX2" fmla="*/ 377951 w 1760360"/>
                <a:gd name="connsiteY2" fmla="*/ 1511802 h 1511802"/>
                <a:gd name="connsiteX3" fmla="*/ 0 w 1760360"/>
                <a:gd name="connsiteY3" fmla="*/ 755901 h 1511802"/>
                <a:gd name="connsiteX4" fmla="*/ 377951 w 1760360"/>
                <a:gd name="connsiteY4" fmla="*/ 0 h 1511802"/>
                <a:gd name="connsiteX5" fmla="*/ 1290970 w 1760360"/>
                <a:gd name="connsiteY5" fmla="*/ 0 h 1511802"/>
                <a:gd name="connsiteX6" fmla="*/ 1760360 w 1760360"/>
                <a:gd name="connsiteY6" fmla="*/ 847341 h 1511802"/>
                <a:gd name="connsiteX0" fmla="*/ 1668920 w 1668920"/>
                <a:gd name="connsiteY0" fmla="*/ 755901 h 1511802"/>
                <a:gd name="connsiteX1" fmla="*/ 1290970 w 1668920"/>
                <a:gd name="connsiteY1" fmla="*/ 1511802 h 1511802"/>
                <a:gd name="connsiteX2" fmla="*/ 377951 w 1668920"/>
                <a:gd name="connsiteY2" fmla="*/ 1511802 h 1511802"/>
                <a:gd name="connsiteX3" fmla="*/ 0 w 1668920"/>
                <a:gd name="connsiteY3" fmla="*/ 755901 h 1511802"/>
                <a:gd name="connsiteX4" fmla="*/ 377951 w 1668920"/>
                <a:gd name="connsiteY4" fmla="*/ 0 h 1511802"/>
                <a:gd name="connsiteX5" fmla="*/ 1290970 w 1668920"/>
                <a:gd name="connsiteY5" fmla="*/ 0 h 1511802"/>
                <a:gd name="connsiteX0" fmla="*/ 1290970 w 1290970"/>
                <a:gd name="connsiteY0" fmla="*/ 1511802 h 1511802"/>
                <a:gd name="connsiteX1" fmla="*/ 377951 w 1290970"/>
                <a:gd name="connsiteY1" fmla="*/ 1511802 h 1511802"/>
                <a:gd name="connsiteX2" fmla="*/ 0 w 1290970"/>
                <a:gd name="connsiteY2" fmla="*/ 755901 h 1511802"/>
                <a:gd name="connsiteX3" fmla="*/ 377951 w 1290970"/>
                <a:gd name="connsiteY3" fmla="*/ 0 h 1511802"/>
                <a:gd name="connsiteX4" fmla="*/ 1290970 w 1290970"/>
                <a:gd name="connsiteY4" fmla="*/ 0 h 1511802"/>
                <a:gd name="connsiteX0" fmla="*/ 1290970 w 1290970"/>
                <a:gd name="connsiteY0" fmla="*/ 1511802 h 1511802"/>
                <a:gd name="connsiteX1" fmla="*/ 377951 w 1290970"/>
                <a:gd name="connsiteY1" fmla="*/ 1511802 h 1511802"/>
                <a:gd name="connsiteX2" fmla="*/ 0 w 1290970"/>
                <a:gd name="connsiteY2" fmla="*/ 755901 h 1511802"/>
                <a:gd name="connsiteX3" fmla="*/ 377951 w 1290970"/>
                <a:gd name="connsiteY3" fmla="*/ 0 h 1511802"/>
                <a:gd name="connsiteX4" fmla="*/ 876632 w 1290970"/>
                <a:gd name="connsiteY4" fmla="*/ 0 h 15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970" h="1511802">
                  <a:moveTo>
                    <a:pt x="1290970" y="1511802"/>
                  </a:moveTo>
                  <a:lnTo>
                    <a:pt x="377951" y="1511802"/>
                  </a:lnTo>
                  <a:lnTo>
                    <a:pt x="0" y="755901"/>
                  </a:lnTo>
                  <a:lnTo>
                    <a:pt x="377951" y="0"/>
                  </a:lnTo>
                  <a:lnTo>
                    <a:pt x="876632" y="0"/>
                  </a:lnTo>
                </a:path>
              </a:pathLst>
            </a:custGeom>
            <a:noFill/>
            <a:ln w="53975" cap="rnd">
              <a:gradFill flip="none" rotWithShape="1">
                <a:gsLst>
                  <a:gs pos="11000">
                    <a:srgbClr val="72C7E7"/>
                  </a:gs>
                  <a:gs pos="57000">
                    <a:srgbClr val="4B92DB"/>
                  </a:gs>
                  <a:gs pos="93000">
                    <a:srgbClr val="002776"/>
                  </a:gs>
                </a:gsLst>
                <a:lin ang="135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chemeClr val="accent3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200CBF0-542E-4443-90DF-17AE4B68F8E5}"/>
              </a:ext>
            </a:extLst>
          </p:cNvPr>
          <p:cNvGrpSpPr/>
          <p:nvPr/>
        </p:nvGrpSpPr>
        <p:grpSpPr>
          <a:xfrm>
            <a:off x="4591125" y="4749403"/>
            <a:ext cx="2898211" cy="1067284"/>
            <a:chOff x="743374" y="2425303"/>
            <a:chExt cx="2725542" cy="1003698"/>
          </a:xfrm>
        </p:grpSpPr>
        <p:sp>
          <p:nvSpPr>
            <p:cNvPr id="58" name="Hexagon 56">
              <a:extLst>
                <a:ext uri="{FF2B5EF4-FFF2-40B4-BE49-F238E27FC236}">
                  <a16:creationId xmlns:a16="http://schemas.microsoft.com/office/drawing/2014/main" id="{1997AB2C-B9A3-4B4F-850F-D181A49E0AD0}"/>
                </a:ext>
              </a:extLst>
            </p:cNvPr>
            <p:cNvSpPr/>
            <p:nvPr/>
          </p:nvSpPr>
          <p:spPr>
            <a:xfrm rot="5400000" flipH="1" flipV="1">
              <a:off x="1718242" y="2586842"/>
              <a:ext cx="775805" cy="908514"/>
            </a:xfrm>
            <a:custGeom>
              <a:avLst/>
              <a:gdLst>
                <a:gd name="connsiteX0" fmla="*/ 0 w 1668920"/>
                <a:gd name="connsiteY0" fmla="*/ 755901 h 1511802"/>
                <a:gd name="connsiteX1" fmla="*/ 377951 w 1668920"/>
                <a:gd name="connsiteY1" fmla="*/ 0 h 1511802"/>
                <a:gd name="connsiteX2" fmla="*/ 1290970 w 1668920"/>
                <a:gd name="connsiteY2" fmla="*/ 0 h 1511802"/>
                <a:gd name="connsiteX3" fmla="*/ 1668920 w 1668920"/>
                <a:gd name="connsiteY3" fmla="*/ 755901 h 1511802"/>
                <a:gd name="connsiteX4" fmla="*/ 1290970 w 1668920"/>
                <a:gd name="connsiteY4" fmla="*/ 1511802 h 1511802"/>
                <a:gd name="connsiteX5" fmla="*/ 377951 w 1668920"/>
                <a:gd name="connsiteY5" fmla="*/ 1511802 h 1511802"/>
                <a:gd name="connsiteX6" fmla="*/ 0 w 1668920"/>
                <a:gd name="connsiteY6" fmla="*/ 755901 h 1511802"/>
                <a:gd name="connsiteX0" fmla="*/ 1668920 w 1760360"/>
                <a:gd name="connsiteY0" fmla="*/ 755901 h 1511802"/>
                <a:gd name="connsiteX1" fmla="*/ 1290970 w 1760360"/>
                <a:gd name="connsiteY1" fmla="*/ 1511802 h 1511802"/>
                <a:gd name="connsiteX2" fmla="*/ 377951 w 1760360"/>
                <a:gd name="connsiteY2" fmla="*/ 1511802 h 1511802"/>
                <a:gd name="connsiteX3" fmla="*/ 0 w 1760360"/>
                <a:gd name="connsiteY3" fmla="*/ 755901 h 1511802"/>
                <a:gd name="connsiteX4" fmla="*/ 377951 w 1760360"/>
                <a:gd name="connsiteY4" fmla="*/ 0 h 1511802"/>
                <a:gd name="connsiteX5" fmla="*/ 1290970 w 1760360"/>
                <a:gd name="connsiteY5" fmla="*/ 0 h 1511802"/>
                <a:gd name="connsiteX6" fmla="*/ 1760360 w 1760360"/>
                <a:gd name="connsiteY6" fmla="*/ 847341 h 1511802"/>
                <a:gd name="connsiteX0" fmla="*/ 1668920 w 1668920"/>
                <a:gd name="connsiteY0" fmla="*/ 755901 h 1511802"/>
                <a:gd name="connsiteX1" fmla="*/ 1290970 w 1668920"/>
                <a:gd name="connsiteY1" fmla="*/ 1511802 h 1511802"/>
                <a:gd name="connsiteX2" fmla="*/ 377951 w 1668920"/>
                <a:gd name="connsiteY2" fmla="*/ 1511802 h 1511802"/>
                <a:gd name="connsiteX3" fmla="*/ 0 w 1668920"/>
                <a:gd name="connsiteY3" fmla="*/ 755901 h 1511802"/>
                <a:gd name="connsiteX4" fmla="*/ 377951 w 1668920"/>
                <a:gd name="connsiteY4" fmla="*/ 0 h 1511802"/>
                <a:gd name="connsiteX5" fmla="*/ 1290970 w 1668920"/>
                <a:gd name="connsiteY5" fmla="*/ 0 h 1511802"/>
                <a:gd name="connsiteX0" fmla="*/ 1290970 w 1290970"/>
                <a:gd name="connsiteY0" fmla="*/ 1511802 h 1511802"/>
                <a:gd name="connsiteX1" fmla="*/ 377951 w 1290970"/>
                <a:gd name="connsiteY1" fmla="*/ 1511802 h 1511802"/>
                <a:gd name="connsiteX2" fmla="*/ 0 w 1290970"/>
                <a:gd name="connsiteY2" fmla="*/ 755901 h 1511802"/>
                <a:gd name="connsiteX3" fmla="*/ 377951 w 1290970"/>
                <a:gd name="connsiteY3" fmla="*/ 0 h 1511802"/>
                <a:gd name="connsiteX4" fmla="*/ 1290970 w 1290970"/>
                <a:gd name="connsiteY4" fmla="*/ 0 h 1511802"/>
                <a:gd name="connsiteX0" fmla="*/ 1290970 w 1290970"/>
                <a:gd name="connsiteY0" fmla="*/ 1511802 h 1511802"/>
                <a:gd name="connsiteX1" fmla="*/ 377951 w 1290970"/>
                <a:gd name="connsiteY1" fmla="*/ 1511802 h 1511802"/>
                <a:gd name="connsiteX2" fmla="*/ 0 w 1290970"/>
                <a:gd name="connsiteY2" fmla="*/ 755901 h 1511802"/>
                <a:gd name="connsiteX3" fmla="*/ 377951 w 1290970"/>
                <a:gd name="connsiteY3" fmla="*/ 0 h 1511802"/>
                <a:gd name="connsiteX4" fmla="*/ 795670 w 1290970"/>
                <a:gd name="connsiteY4" fmla="*/ 0 h 15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970" h="1511802">
                  <a:moveTo>
                    <a:pt x="1290970" y="1511802"/>
                  </a:moveTo>
                  <a:lnTo>
                    <a:pt x="377951" y="1511802"/>
                  </a:lnTo>
                  <a:lnTo>
                    <a:pt x="0" y="755901"/>
                  </a:lnTo>
                  <a:lnTo>
                    <a:pt x="377951" y="0"/>
                  </a:lnTo>
                  <a:lnTo>
                    <a:pt x="795670" y="0"/>
                  </a:lnTo>
                </a:path>
              </a:pathLst>
            </a:custGeom>
            <a:noFill/>
            <a:ln w="53975" cap="rnd">
              <a:gradFill flip="none" rotWithShape="1">
                <a:gsLst>
                  <a:gs pos="41000">
                    <a:srgbClr val="72C7E7"/>
                  </a:gs>
                  <a:gs pos="0">
                    <a:srgbClr val="4B92DB"/>
                  </a:gs>
                  <a:gs pos="100000">
                    <a:srgbClr val="002776"/>
                  </a:gs>
                </a:gsLst>
                <a:lin ang="135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chemeClr val="accent3"/>
                </a:solidFill>
              </a:endParaRPr>
            </a:p>
          </p:txBody>
        </p:sp>
        <p:sp>
          <p:nvSpPr>
            <p:cNvPr id="59" name="Hexagon 56">
              <a:extLst>
                <a:ext uri="{FF2B5EF4-FFF2-40B4-BE49-F238E27FC236}">
                  <a16:creationId xmlns:a16="http://schemas.microsoft.com/office/drawing/2014/main" id="{04D28D54-0362-4C55-98AC-2AA5DA3D7364}"/>
                </a:ext>
              </a:extLst>
            </p:cNvPr>
            <p:cNvSpPr/>
            <p:nvPr/>
          </p:nvSpPr>
          <p:spPr>
            <a:xfrm rot="5400000">
              <a:off x="809728" y="2358949"/>
              <a:ext cx="775805" cy="908514"/>
            </a:xfrm>
            <a:custGeom>
              <a:avLst/>
              <a:gdLst>
                <a:gd name="connsiteX0" fmla="*/ 0 w 1668920"/>
                <a:gd name="connsiteY0" fmla="*/ 755901 h 1511802"/>
                <a:gd name="connsiteX1" fmla="*/ 377951 w 1668920"/>
                <a:gd name="connsiteY1" fmla="*/ 0 h 1511802"/>
                <a:gd name="connsiteX2" fmla="*/ 1290970 w 1668920"/>
                <a:gd name="connsiteY2" fmla="*/ 0 h 1511802"/>
                <a:gd name="connsiteX3" fmla="*/ 1668920 w 1668920"/>
                <a:gd name="connsiteY3" fmla="*/ 755901 h 1511802"/>
                <a:gd name="connsiteX4" fmla="*/ 1290970 w 1668920"/>
                <a:gd name="connsiteY4" fmla="*/ 1511802 h 1511802"/>
                <a:gd name="connsiteX5" fmla="*/ 377951 w 1668920"/>
                <a:gd name="connsiteY5" fmla="*/ 1511802 h 1511802"/>
                <a:gd name="connsiteX6" fmla="*/ 0 w 1668920"/>
                <a:gd name="connsiteY6" fmla="*/ 755901 h 1511802"/>
                <a:gd name="connsiteX0" fmla="*/ 1668920 w 1760360"/>
                <a:gd name="connsiteY0" fmla="*/ 755901 h 1511802"/>
                <a:gd name="connsiteX1" fmla="*/ 1290970 w 1760360"/>
                <a:gd name="connsiteY1" fmla="*/ 1511802 h 1511802"/>
                <a:gd name="connsiteX2" fmla="*/ 377951 w 1760360"/>
                <a:gd name="connsiteY2" fmla="*/ 1511802 h 1511802"/>
                <a:gd name="connsiteX3" fmla="*/ 0 w 1760360"/>
                <a:gd name="connsiteY3" fmla="*/ 755901 h 1511802"/>
                <a:gd name="connsiteX4" fmla="*/ 377951 w 1760360"/>
                <a:gd name="connsiteY4" fmla="*/ 0 h 1511802"/>
                <a:gd name="connsiteX5" fmla="*/ 1290970 w 1760360"/>
                <a:gd name="connsiteY5" fmla="*/ 0 h 1511802"/>
                <a:gd name="connsiteX6" fmla="*/ 1760360 w 1760360"/>
                <a:gd name="connsiteY6" fmla="*/ 847341 h 1511802"/>
                <a:gd name="connsiteX0" fmla="*/ 1668920 w 1668920"/>
                <a:gd name="connsiteY0" fmla="*/ 755901 h 1511802"/>
                <a:gd name="connsiteX1" fmla="*/ 1290970 w 1668920"/>
                <a:gd name="connsiteY1" fmla="*/ 1511802 h 1511802"/>
                <a:gd name="connsiteX2" fmla="*/ 377951 w 1668920"/>
                <a:gd name="connsiteY2" fmla="*/ 1511802 h 1511802"/>
                <a:gd name="connsiteX3" fmla="*/ 0 w 1668920"/>
                <a:gd name="connsiteY3" fmla="*/ 755901 h 1511802"/>
                <a:gd name="connsiteX4" fmla="*/ 377951 w 1668920"/>
                <a:gd name="connsiteY4" fmla="*/ 0 h 1511802"/>
                <a:gd name="connsiteX5" fmla="*/ 1290970 w 1668920"/>
                <a:gd name="connsiteY5" fmla="*/ 0 h 1511802"/>
                <a:gd name="connsiteX0" fmla="*/ 1290970 w 1290970"/>
                <a:gd name="connsiteY0" fmla="*/ 1511802 h 1511802"/>
                <a:gd name="connsiteX1" fmla="*/ 377951 w 1290970"/>
                <a:gd name="connsiteY1" fmla="*/ 1511802 h 1511802"/>
                <a:gd name="connsiteX2" fmla="*/ 0 w 1290970"/>
                <a:gd name="connsiteY2" fmla="*/ 755901 h 1511802"/>
                <a:gd name="connsiteX3" fmla="*/ 377951 w 1290970"/>
                <a:gd name="connsiteY3" fmla="*/ 0 h 1511802"/>
                <a:gd name="connsiteX4" fmla="*/ 1290970 w 1290970"/>
                <a:gd name="connsiteY4" fmla="*/ 0 h 1511802"/>
                <a:gd name="connsiteX0" fmla="*/ 1290970 w 1290970"/>
                <a:gd name="connsiteY0" fmla="*/ 1511802 h 1511802"/>
                <a:gd name="connsiteX1" fmla="*/ 377951 w 1290970"/>
                <a:gd name="connsiteY1" fmla="*/ 1511802 h 1511802"/>
                <a:gd name="connsiteX2" fmla="*/ 0 w 1290970"/>
                <a:gd name="connsiteY2" fmla="*/ 755901 h 1511802"/>
                <a:gd name="connsiteX3" fmla="*/ 377951 w 1290970"/>
                <a:gd name="connsiteY3" fmla="*/ 0 h 1511802"/>
                <a:gd name="connsiteX4" fmla="*/ 876632 w 1290970"/>
                <a:gd name="connsiteY4" fmla="*/ 0 h 15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970" h="1511802">
                  <a:moveTo>
                    <a:pt x="1290970" y="1511802"/>
                  </a:moveTo>
                  <a:lnTo>
                    <a:pt x="377951" y="1511802"/>
                  </a:lnTo>
                  <a:lnTo>
                    <a:pt x="0" y="755901"/>
                  </a:lnTo>
                  <a:lnTo>
                    <a:pt x="377951" y="0"/>
                  </a:lnTo>
                  <a:lnTo>
                    <a:pt x="876632" y="0"/>
                  </a:lnTo>
                </a:path>
              </a:pathLst>
            </a:custGeom>
            <a:noFill/>
            <a:ln w="53975" cap="rnd">
              <a:gradFill flip="none" rotWithShape="1">
                <a:gsLst>
                  <a:gs pos="5000">
                    <a:srgbClr val="72C7E7"/>
                  </a:gs>
                  <a:gs pos="60000">
                    <a:srgbClr val="4B92DB"/>
                  </a:gs>
                  <a:gs pos="91000">
                    <a:srgbClr val="002776"/>
                  </a:gs>
                </a:gsLst>
                <a:lin ang="135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chemeClr val="accent3"/>
                </a:solidFill>
              </a:endParaRPr>
            </a:p>
          </p:txBody>
        </p:sp>
        <p:sp>
          <p:nvSpPr>
            <p:cNvPr id="60" name="Hexagon 56">
              <a:extLst>
                <a:ext uri="{FF2B5EF4-FFF2-40B4-BE49-F238E27FC236}">
                  <a16:creationId xmlns:a16="http://schemas.microsoft.com/office/drawing/2014/main" id="{A5928910-1B3B-48D1-A344-FFA452484CE6}"/>
                </a:ext>
              </a:extLst>
            </p:cNvPr>
            <p:cNvSpPr/>
            <p:nvPr/>
          </p:nvSpPr>
          <p:spPr>
            <a:xfrm rot="5400000">
              <a:off x="2626756" y="2358952"/>
              <a:ext cx="775805" cy="908514"/>
            </a:xfrm>
            <a:custGeom>
              <a:avLst/>
              <a:gdLst>
                <a:gd name="connsiteX0" fmla="*/ 0 w 1668920"/>
                <a:gd name="connsiteY0" fmla="*/ 755901 h 1511802"/>
                <a:gd name="connsiteX1" fmla="*/ 377951 w 1668920"/>
                <a:gd name="connsiteY1" fmla="*/ 0 h 1511802"/>
                <a:gd name="connsiteX2" fmla="*/ 1290970 w 1668920"/>
                <a:gd name="connsiteY2" fmla="*/ 0 h 1511802"/>
                <a:gd name="connsiteX3" fmla="*/ 1668920 w 1668920"/>
                <a:gd name="connsiteY3" fmla="*/ 755901 h 1511802"/>
                <a:gd name="connsiteX4" fmla="*/ 1290970 w 1668920"/>
                <a:gd name="connsiteY4" fmla="*/ 1511802 h 1511802"/>
                <a:gd name="connsiteX5" fmla="*/ 377951 w 1668920"/>
                <a:gd name="connsiteY5" fmla="*/ 1511802 h 1511802"/>
                <a:gd name="connsiteX6" fmla="*/ 0 w 1668920"/>
                <a:gd name="connsiteY6" fmla="*/ 755901 h 1511802"/>
                <a:gd name="connsiteX0" fmla="*/ 1668920 w 1760360"/>
                <a:gd name="connsiteY0" fmla="*/ 755901 h 1511802"/>
                <a:gd name="connsiteX1" fmla="*/ 1290970 w 1760360"/>
                <a:gd name="connsiteY1" fmla="*/ 1511802 h 1511802"/>
                <a:gd name="connsiteX2" fmla="*/ 377951 w 1760360"/>
                <a:gd name="connsiteY2" fmla="*/ 1511802 h 1511802"/>
                <a:gd name="connsiteX3" fmla="*/ 0 w 1760360"/>
                <a:gd name="connsiteY3" fmla="*/ 755901 h 1511802"/>
                <a:gd name="connsiteX4" fmla="*/ 377951 w 1760360"/>
                <a:gd name="connsiteY4" fmla="*/ 0 h 1511802"/>
                <a:gd name="connsiteX5" fmla="*/ 1290970 w 1760360"/>
                <a:gd name="connsiteY5" fmla="*/ 0 h 1511802"/>
                <a:gd name="connsiteX6" fmla="*/ 1760360 w 1760360"/>
                <a:gd name="connsiteY6" fmla="*/ 847341 h 1511802"/>
                <a:gd name="connsiteX0" fmla="*/ 1668920 w 1668920"/>
                <a:gd name="connsiteY0" fmla="*/ 755901 h 1511802"/>
                <a:gd name="connsiteX1" fmla="*/ 1290970 w 1668920"/>
                <a:gd name="connsiteY1" fmla="*/ 1511802 h 1511802"/>
                <a:gd name="connsiteX2" fmla="*/ 377951 w 1668920"/>
                <a:gd name="connsiteY2" fmla="*/ 1511802 h 1511802"/>
                <a:gd name="connsiteX3" fmla="*/ 0 w 1668920"/>
                <a:gd name="connsiteY3" fmla="*/ 755901 h 1511802"/>
                <a:gd name="connsiteX4" fmla="*/ 377951 w 1668920"/>
                <a:gd name="connsiteY4" fmla="*/ 0 h 1511802"/>
                <a:gd name="connsiteX5" fmla="*/ 1290970 w 1668920"/>
                <a:gd name="connsiteY5" fmla="*/ 0 h 1511802"/>
                <a:gd name="connsiteX0" fmla="*/ 1290970 w 1290970"/>
                <a:gd name="connsiteY0" fmla="*/ 1511802 h 1511802"/>
                <a:gd name="connsiteX1" fmla="*/ 377951 w 1290970"/>
                <a:gd name="connsiteY1" fmla="*/ 1511802 h 1511802"/>
                <a:gd name="connsiteX2" fmla="*/ 0 w 1290970"/>
                <a:gd name="connsiteY2" fmla="*/ 755901 h 1511802"/>
                <a:gd name="connsiteX3" fmla="*/ 377951 w 1290970"/>
                <a:gd name="connsiteY3" fmla="*/ 0 h 1511802"/>
                <a:gd name="connsiteX4" fmla="*/ 1290970 w 1290970"/>
                <a:gd name="connsiteY4" fmla="*/ 0 h 1511802"/>
                <a:gd name="connsiteX0" fmla="*/ 1290970 w 1290970"/>
                <a:gd name="connsiteY0" fmla="*/ 1511802 h 1511802"/>
                <a:gd name="connsiteX1" fmla="*/ 377951 w 1290970"/>
                <a:gd name="connsiteY1" fmla="*/ 1511802 h 1511802"/>
                <a:gd name="connsiteX2" fmla="*/ 0 w 1290970"/>
                <a:gd name="connsiteY2" fmla="*/ 755901 h 1511802"/>
                <a:gd name="connsiteX3" fmla="*/ 377951 w 1290970"/>
                <a:gd name="connsiteY3" fmla="*/ 0 h 1511802"/>
                <a:gd name="connsiteX4" fmla="*/ 876632 w 1290970"/>
                <a:gd name="connsiteY4" fmla="*/ 0 h 1511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970" h="1511802">
                  <a:moveTo>
                    <a:pt x="1290970" y="1511802"/>
                  </a:moveTo>
                  <a:lnTo>
                    <a:pt x="377951" y="1511802"/>
                  </a:lnTo>
                  <a:lnTo>
                    <a:pt x="0" y="755901"/>
                  </a:lnTo>
                  <a:lnTo>
                    <a:pt x="377951" y="0"/>
                  </a:lnTo>
                  <a:lnTo>
                    <a:pt x="876632" y="0"/>
                  </a:lnTo>
                </a:path>
              </a:pathLst>
            </a:custGeom>
            <a:noFill/>
            <a:ln w="53975" cap="rnd">
              <a:gradFill flip="none" rotWithShape="1">
                <a:gsLst>
                  <a:gs pos="11000">
                    <a:srgbClr val="72C7E7"/>
                  </a:gs>
                  <a:gs pos="57000">
                    <a:srgbClr val="4B92DB"/>
                  </a:gs>
                  <a:gs pos="93000">
                    <a:srgbClr val="002776"/>
                  </a:gs>
                </a:gsLst>
                <a:lin ang="135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>
                <a:solidFill>
                  <a:schemeClr val="accent3"/>
                </a:solidFill>
              </a:endParaRPr>
            </a:p>
          </p:txBody>
        </p:sp>
      </p:grpSp>
      <p:sp>
        <p:nvSpPr>
          <p:cNvPr id="52" name="Rectangle 51">
            <a:hlinkClick r:id="" action="ppaction://noaction"/>
            <a:extLst>
              <a:ext uri="{FF2B5EF4-FFF2-40B4-BE49-F238E27FC236}">
                <a16:creationId xmlns:a16="http://schemas.microsoft.com/office/drawing/2014/main" id="{A5E999D5-5519-4C46-8554-92EBD32A2E17}"/>
              </a:ext>
            </a:extLst>
          </p:cNvPr>
          <p:cNvSpPr/>
          <p:nvPr/>
        </p:nvSpPr>
        <p:spPr>
          <a:xfrm>
            <a:off x="4037705" y="5398700"/>
            <a:ext cx="1004001" cy="450285"/>
          </a:xfrm>
          <a:prstGeom prst="rect">
            <a:avLst/>
          </a:prstGeom>
          <a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39758" t="-31464" r="-27626" b="-43748"/>
            </a:stretch>
          </a:blip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ID" dirty="0"/>
          </a:p>
        </p:txBody>
      </p:sp>
      <p:sp>
        <p:nvSpPr>
          <p:cNvPr id="53" name="Rectangle 52">
            <a:hlinkClick r:id="" action="ppaction://noaction"/>
            <a:extLst>
              <a:ext uri="{FF2B5EF4-FFF2-40B4-BE49-F238E27FC236}">
                <a16:creationId xmlns:a16="http://schemas.microsoft.com/office/drawing/2014/main" id="{B409D4DA-E76C-4232-807C-C4472EE8BF9E}"/>
              </a:ext>
            </a:extLst>
          </p:cNvPr>
          <p:cNvSpPr/>
          <p:nvPr/>
        </p:nvSpPr>
        <p:spPr>
          <a:xfrm>
            <a:off x="8301536" y="5297095"/>
            <a:ext cx="779230" cy="546397"/>
          </a:xfrm>
          <a:prstGeom prst="rect">
            <a:avLst/>
          </a:prstGeom>
          <a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15000" t="-14849" r="-15000" b="-12554"/>
            </a:stretch>
          </a:blip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ID"/>
          </a:p>
        </p:txBody>
      </p:sp>
      <p:pic>
        <p:nvPicPr>
          <p:cNvPr id="54" name="Picture 53" descr="A screen shot of an open computer&#10;&#10;Description automatically generated">
            <a:hlinkClick r:id="" action="ppaction://noaction"/>
            <a:extLst>
              <a:ext uri="{FF2B5EF4-FFF2-40B4-BE49-F238E27FC236}">
                <a16:creationId xmlns:a16="http://schemas.microsoft.com/office/drawing/2014/main" id="{DA1A89DF-8786-49B1-8167-A3030F60340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9182" y="5161879"/>
            <a:ext cx="1030660" cy="687106"/>
          </a:xfrm>
          <a:prstGeom prst="rect">
            <a:avLst/>
          </a:prstGeom>
        </p:spPr>
      </p:pic>
      <p:pic>
        <p:nvPicPr>
          <p:cNvPr id="56" name="Picture 55" descr="A picture containing projector&#10;&#10;Description automatically generated">
            <a:extLst>
              <a:ext uri="{FF2B5EF4-FFF2-40B4-BE49-F238E27FC236}">
                <a16:creationId xmlns:a16="http://schemas.microsoft.com/office/drawing/2014/main" id="{467475AF-8EA9-4FA8-8F3D-E1E17B7AEE76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54" t="5984" r="19768" b="10327"/>
          <a:stretch/>
        </p:blipFill>
        <p:spPr>
          <a:xfrm>
            <a:off x="5526821" y="5119913"/>
            <a:ext cx="897320" cy="723579"/>
          </a:xfrm>
          <a:prstGeom prst="rect">
            <a:avLst/>
          </a:prstGeom>
        </p:spPr>
      </p:pic>
      <p:pic>
        <p:nvPicPr>
          <p:cNvPr id="57" name="Picture 56" descr="A picture containing LEGO, toy&#10;&#10;Description automatically generated">
            <a:extLst>
              <a:ext uri="{FF2B5EF4-FFF2-40B4-BE49-F238E27FC236}">
                <a16:creationId xmlns:a16="http://schemas.microsoft.com/office/drawing/2014/main" id="{E701678D-0D69-4459-B7E7-52951CDC38B9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720" t="14341" r="3004" b="19350"/>
          <a:stretch/>
        </p:blipFill>
        <p:spPr>
          <a:xfrm>
            <a:off x="6720749" y="5043931"/>
            <a:ext cx="1198614" cy="797045"/>
          </a:xfrm>
          <a:prstGeom prst="rect">
            <a:avLst/>
          </a:prstGeom>
        </p:spPr>
      </p:pic>
      <p:grpSp>
        <p:nvGrpSpPr>
          <p:cNvPr id="64" name="Group 63">
            <a:extLst>
              <a:ext uri="{FF2B5EF4-FFF2-40B4-BE49-F238E27FC236}">
                <a16:creationId xmlns:a16="http://schemas.microsoft.com/office/drawing/2014/main" id="{027FD399-992B-499E-844D-9C9196A54A8E}"/>
              </a:ext>
            </a:extLst>
          </p:cNvPr>
          <p:cNvGrpSpPr/>
          <p:nvPr/>
        </p:nvGrpSpPr>
        <p:grpSpPr>
          <a:xfrm>
            <a:off x="755282" y="5232913"/>
            <a:ext cx="547298" cy="444217"/>
            <a:chOff x="744496" y="1982674"/>
            <a:chExt cx="547298" cy="444217"/>
          </a:xfrm>
        </p:grpSpPr>
        <p:sp>
          <p:nvSpPr>
            <p:cNvPr id="65" name="Freeform 374">
              <a:extLst>
                <a:ext uri="{FF2B5EF4-FFF2-40B4-BE49-F238E27FC236}">
                  <a16:creationId xmlns:a16="http://schemas.microsoft.com/office/drawing/2014/main" id="{BAAB7BB1-1CDD-48BA-9207-0F256A8B70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9002" y="1982674"/>
              <a:ext cx="164334" cy="131467"/>
            </a:xfrm>
            <a:custGeom>
              <a:avLst/>
              <a:gdLst>
                <a:gd name="T0" fmla="*/ 135 w 301"/>
                <a:gd name="T1" fmla="*/ 151 h 242"/>
                <a:gd name="T2" fmla="*/ 141 w 301"/>
                <a:gd name="T3" fmla="*/ 153 h 242"/>
                <a:gd name="T4" fmla="*/ 146 w 301"/>
                <a:gd name="T5" fmla="*/ 156 h 242"/>
                <a:gd name="T6" fmla="*/ 149 w 301"/>
                <a:gd name="T7" fmla="*/ 160 h 242"/>
                <a:gd name="T8" fmla="*/ 150 w 301"/>
                <a:gd name="T9" fmla="*/ 167 h 242"/>
                <a:gd name="T10" fmla="*/ 149 w 301"/>
                <a:gd name="T11" fmla="*/ 172 h 242"/>
                <a:gd name="T12" fmla="*/ 146 w 301"/>
                <a:gd name="T13" fmla="*/ 176 h 242"/>
                <a:gd name="T14" fmla="*/ 141 w 301"/>
                <a:gd name="T15" fmla="*/ 181 h 242"/>
                <a:gd name="T16" fmla="*/ 135 w 301"/>
                <a:gd name="T17" fmla="*/ 182 h 242"/>
                <a:gd name="T18" fmla="*/ 72 w 301"/>
                <a:gd name="T19" fmla="*/ 181 h 242"/>
                <a:gd name="T20" fmla="*/ 67 w 301"/>
                <a:gd name="T21" fmla="*/ 178 h 242"/>
                <a:gd name="T22" fmla="*/ 63 w 301"/>
                <a:gd name="T23" fmla="*/ 174 h 242"/>
                <a:gd name="T24" fmla="*/ 60 w 301"/>
                <a:gd name="T25" fmla="*/ 169 h 242"/>
                <a:gd name="T26" fmla="*/ 60 w 301"/>
                <a:gd name="T27" fmla="*/ 163 h 242"/>
                <a:gd name="T28" fmla="*/ 63 w 301"/>
                <a:gd name="T29" fmla="*/ 158 h 242"/>
                <a:gd name="T30" fmla="*/ 67 w 301"/>
                <a:gd name="T31" fmla="*/ 154 h 242"/>
                <a:gd name="T32" fmla="*/ 72 w 301"/>
                <a:gd name="T33" fmla="*/ 152 h 242"/>
                <a:gd name="T34" fmla="*/ 75 w 301"/>
                <a:gd name="T35" fmla="*/ 151 h 242"/>
                <a:gd name="T36" fmla="*/ 286 w 301"/>
                <a:gd name="T37" fmla="*/ 242 h 242"/>
                <a:gd name="T38" fmla="*/ 292 w 301"/>
                <a:gd name="T39" fmla="*/ 241 h 242"/>
                <a:gd name="T40" fmla="*/ 296 w 301"/>
                <a:gd name="T41" fmla="*/ 237 h 242"/>
                <a:gd name="T42" fmla="*/ 300 w 301"/>
                <a:gd name="T43" fmla="*/ 232 h 242"/>
                <a:gd name="T44" fmla="*/ 301 w 301"/>
                <a:gd name="T45" fmla="*/ 227 h 242"/>
                <a:gd name="T46" fmla="*/ 301 w 301"/>
                <a:gd name="T47" fmla="*/ 12 h 242"/>
                <a:gd name="T48" fmla="*/ 298 w 301"/>
                <a:gd name="T49" fmla="*/ 7 h 242"/>
                <a:gd name="T50" fmla="*/ 294 w 301"/>
                <a:gd name="T51" fmla="*/ 4 h 242"/>
                <a:gd name="T52" fmla="*/ 289 w 301"/>
                <a:gd name="T53" fmla="*/ 0 h 242"/>
                <a:gd name="T54" fmla="*/ 15 w 301"/>
                <a:gd name="T55" fmla="*/ 0 h 242"/>
                <a:gd name="T56" fmla="*/ 9 w 301"/>
                <a:gd name="T57" fmla="*/ 1 h 242"/>
                <a:gd name="T58" fmla="*/ 5 w 301"/>
                <a:gd name="T59" fmla="*/ 5 h 242"/>
                <a:gd name="T60" fmla="*/ 1 w 301"/>
                <a:gd name="T61" fmla="*/ 10 h 242"/>
                <a:gd name="T62" fmla="*/ 0 w 301"/>
                <a:gd name="T63" fmla="*/ 15 h 242"/>
                <a:gd name="T64" fmla="*/ 0 w 301"/>
                <a:gd name="T65" fmla="*/ 229 h 242"/>
                <a:gd name="T66" fmla="*/ 2 w 301"/>
                <a:gd name="T67" fmla="*/ 235 h 242"/>
                <a:gd name="T68" fmla="*/ 7 w 301"/>
                <a:gd name="T69" fmla="*/ 239 h 242"/>
                <a:gd name="T70" fmla="*/ 12 w 301"/>
                <a:gd name="T71" fmla="*/ 241 h 242"/>
                <a:gd name="T72" fmla="*/ 15 w 301"/>
                <a:gd name="T73" fmla="*/ 242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01" h="242">
                  <a:moveTo>
                    <a:pt x="75" y="151"/>
                  </a:moveTo>
                  <a:lnTo>
                    <a:pt x="135" y="151"/>
                  </a:lnTo>
                  <a:lnTo>
                    <a:pt x="139" y="152"/>
                  </a:lnTo>
                  <a:lnTo>
                    <a:pt x="141" y="153"/>
                  </a:lnTo>
                  <a:lnTo>
                    <a:pt x="144" y="154"/>
                  </a:lnTo>
                  <a:lnTo>
                    <a:pt x="146" y="156"/>
                  </a:lnTo>
                  <a:lnTo>
                    <a:pt x="148" y="158"/>
                  </a:lnTo>
                  <a:lnTo>
                    <a:pt x="149" y="160"/>
                  </a:lnTo>
                  <a:lnTo>
                    <a:pt x="150" y="163"/>
                  </a:lnTo>
                  <a:lnTo>
                    <a:pt x="150" y="167"/>
                  </a:lnTo>
                  <a:lnTo>
                    <a:pt x="150" y="169"/>
                  </a:lnTo>
                  <a:lnTo>
                    <a:pt x="149" y="172"/>
                  </a:lnTo>
                  <a:lnTo>
                    <a:pt x="148" y="174"/>
                  </a:lnTo>
                  <a:lnTo>
                    <a:pt x="146" y="176"/>
                  </a:lnTo>
                  <a:lnTo>
                    <a:pt x="144" y="178"/>
                  </a:lnTo>
                  <a:lnTo>
                    <a:pt x="141" y="181"/>
                  </a:lnTo>
                  <a:lnTo>
                    <a:pt x="139" y="181"/>
                  </a:lnTo>
                  <a:lnTo>
                    <a:pt x="135" y="182"/>
                  </a:lnTo>
                  <a:lnTo>
                    <a:pt x="75" y="182"/>
                  </a:lnTo>
                  <a:lnTo>
                    <a:pt x="72" y="181"/>
                  </a:lnTo>
                  <a:lnTo>
                    <a:pt x="69" y="181"/>
                  </a:lnTo>
                  <a:lnTo>
                    <a:pt x="67" y="178"/>
                  </a:lnTo>
                  <a:lnTo>
                    <a:pt x="65" y="176"/>
                  </a:lnTo>
                  <a:lnTo>
                    <a:pt x="63" y="174"/>
                  </a:lnTo>
                  <a:lnTo>
                    <a:pt x="61" y="172"/>
                  </a:lnTo>
                  <a:lnTo>
                    <a:pt x="60" y="169"/>
                  </a:lnTo>
                  <a:lnTo>
                    <a:pt x="60" y="167"/>
                  </a:lnTo>
                  <a:lnTo>
                    <a:pt x="60" y="163"/>
                  </a:lnTo>
                  <a:lnTo>
                    <a:pt x="61" y="160"/>
                  </a:lnTo>
                  <a:lnTo>
                    <a:pt x="63" y="158"/>
                  </a:lnTo>
                  <a:lnTo>
                    <a:pt x="65" y="156"/>
                  </a:lnTo>
                  <a:lnTo>
                    <a:pt x="67" y="154"/>
                  </a:lnTo>
                  <a:lnTo>
                    <a:pt x="69" y="153"/>
                  </a:lnTo>
                  <a:lnTo>
                    <a:pt x="72" y="152"/>
                  </a:lnTo>
                  <a:lnTo>
                    <a:pt x="75" y="152"/>
                  </a:lnTo>
                  <a:lnTo>
                    <a:pt x="75" y="151"/>
                  </a:lnTo>
                  <a:close/>
                  <a:moveTo>
                    <a:pt x="15" y="242"/>
                  </a:moveTo>
                  <a:lnTo>
                    <a:pt x="286" y="242"/>
                  </a:lnTo>
                  <a:lnTo>
                    <a:pt x="289" y="241"/>
                  </a:lnTo>
                  <a:lnTo>
                    <a:pt x="292" y="241"/>
                  </a:lnTo>
                  <a:lnTo>
                    <a:pt x="294" y="239"/>
                  </a:lnTo>
                  <a:lnTo>
                    <a:pt x="296" y="237"/>
                  </a:lnTo>
                  <a:lnTo>
                    <a:pt x="298" y="235"/>
                  </a:lnTo>
                  <a:lnTo>
                    <a:pt x="300" y="232"/>
                  </a:lnTo>
                  <a:lnTo>
                    <a:pt x="301" y="230"/>
                  </a:lnTo>
                  <a:lnTo>
                    <a:pt x="301" y="227"/>
                  </a:lnTo>
                  <a:lnTo>
                    <a:pt x="301" y="15"/>
                  </a:lnTo>
                  <a:lnTo>
                    <a:pt x="301" y="12"/>
                  </a:lnTo>
                  <a:lnTo>
                    <a:pt x="300" y="10"/>
                  </a:lnTo>
                  <a:lnTo>
                    <a:pt x="298" y="7"/>
                  </a:lnTo>
                  <a:lnTo>
                    <a:pt x="296" y="5"/>
                  </a:lnTo>
                  <a:lnTo>
                    <a:pt x="294" y="4"/>
                  </a:lnTo>
                  <a:lnTo>
                    <a:pt x="292" y="1"/>
                  </a:lnTo>
                  <a:lnTo>
                    <a:pt x="289" y="0"/>
                  </a:lnTo>
                  <a:lnTo>
                    <a:pt x="286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7" y="4"/>
                  </a:lnTo>
                  <a:lnTo>
                    <a:pt x="5" y="5"/>
                  </a:lnTo>
                  <a:lnTo>
                    <a:pt x="2" y="7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227"/>
                  </a:lnTo>
                  <a:lnTo>
                    <a:pt x="0" y="229"/>
                  </a:lnTo>
                  <a:lnTo>
                    <a:pt x="1" y="232"/>
                  </a:lnTo>
                  <a:lnTo>
                    <a:pt x="2" y="235"/>
                  </a:lnTo>
                  <a:lnTo>
                    <a:pt x="5" y="237"/>
                  </a:lnTo>
                  <a:lnTo>
                    <a:pt x="7" y="239"/>
                  </a:lnTo>
                  <a:lnTo>
                    <a:pt x="9" y="241"/>
                  </a:lnTo>
                  <a:lnTo>
                    <a:pt x="12" y="241"/>
                  </a:lnTo>
                  <a:lnTo>
                    <a:pt x="15" y="242"/>
                  </a:lnTo>
                  <a:lnTo>
                    <a:pt x="15" y="242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374">
              <a:extLst>
                <a:ext uri="{FF2B5EF4-FFF2-40B4-BE49-F238E27FC236}">
                  <a16:creationId xmlns:a16="http://schemas.microsoft.com/office/drawing/2014/main" id="{A5209A9B-9A14-4635-B9B0-070E3B05C3BE}"/>
                </a:ext>
              </a:extLst>
            </p:cNvPr>
            <p:cNvSpPr>
              <a:spLocks noEditPoints="1"/>
            </p:cNvSpPr>
            <p:nvPr/>
          </p:nvSpPr>
          <p:spPr bwMode="auto">
            <a:xfrm flipH="1">
              <a:off x="939002" y="2144658"/>
              <a:ext cx="352792" cy="282233"/>
            </a:xfrm>
            <a:custGeom>
              <a:avLst/>
              <a:gdLst>
                <a:gd name="T0" fmla="*/ 135 w 301"/>
                <a:gd name="T1" fmla="*/ 151 h 242"/>
                <a:gd name="T2" fmla="*/ 141 w 301"/>
                <a:gd name="T3" fmla="*/ 153 h 242"/>
                <a:gd name="T4" fmla="*/ 146 w 301"/>
                <a:gd name="T5" fmla="*/ 156 h 242"/>
                <a:gd name="T6" fmla="*/ 149 w 301"/>
                <a:gd name="T7" fmla="*/ 160 h 242"/>
                <a:gd name="T8" fmla="*/ 150 w 301"/>
                <a:gd name="T9" fmla="*/ 167 h 242"/>
                <a:gd name="T10" fmla="*/ 149 w 301"/>
                <a:gd name="T11" fmla="*/ 172 h 242"/>
                <a:gd name="T12" fmla="*/ 146 w 301"/>
                <a:gd name="T13" fmla="*/ 176 h 242"/>
                <a:gd name="T14" fmla="*/ 141 w 301"/>
                <a:gd name="T15" fmla="*/ 181 h 242"/>
                <a:gd name="T16" fmla="*/ 135 w 301"/>
                <a:gd name="T17" fmla="*/ 182 h 242"/>
                <a:gd name="T18" fmla="*/ 72 w 301"/>
                <a:gd name="T19" fmla="*/ 181 h 242"/>
                <a:gd name="T20" fmla="*/ 67 w 301"/>
                <a:gd name="T21" fmla="*/ 178 h 242"/>
                <a:gd name="T22" fmla="*/ 63 w 301"/>
                <a:gd name="T23" fmla="*/ 174 h 242"/>
                <a:gd name="T24" fmla="*/ 60 w 301"/>
                <a:gd name="T25" fmla="*/ 169 h 242"/>
                <a:gd name="T26" fmla="*/ 60 w 301"/>
                <a:gd name="T27" fmla="*/ 163 h 242"/>
                <a:gd name="T28" fmla="*/ 63 w 301"/>
                <a:gd name="T29" fmla="*/ 158 h 242"/>
                <a:gd name="T30" fmla="*/ 67 w 301"/>
                <a:gd name="T31" fmla="*/ 154 h 242"/>
                <a:gd name="T32" fmla="*/ 72 w 301"/>
                <a:gd name="T33" fmla="*/ 152 h 242"/>
                <a:gd name="T34" fmla="*/ 75 w 301"/>
                <a:gd name="T35" fmla="*/ 151 h 242"/>
                <a:gd name="T36" fmla="*/ 286 w 301"/>
                <a:gd name="T37" fmla="*/ 242 h 242"/>
                <a:gd name="T38" fmla="*/ 292 w 301"/>
                <a:gd name="T39" fmla="*/ 241 h 242"/>
                <a:gd name="T40" fmla="*/ 296 w 301"/>
                <a:gd name="T41" fmla="*/ 237 h 242"/>
                <a:gd name="T42" fmla="*/ 300 w 301"/>
                <a:gd name="T43" fmla="*/ 232 h 242"/>
                <a:gd name="T44" fmla="*/ 301 w 301"/>
                <a:gd name="T45" fmla="*/ 227 h 242"/>
                <a:gd name="T46" fmla="*/ 301 w 301"/>
                <a:gd name="T47" fmla="*/ 12 h 242"/>
                <a:gd name="T48" fmla="*/ 298 w 301"/>
                <a:gd name="T49" fmla="*/ 7 h 242"/>
                <a:gd name="T50" fmla="*/ 294 w 301"/>
                <a:gd name="T51" fmla="*/ 4 h 242"/>
                <a:gd name="T52" fmla="*/ 289 w 301"/>
                <a:gd name="T53" fmla="*/ 0 h 242"/>
                <a:gd name="T54" fmla="*/ 15 w 301"/>
                <a:gd name="T55" fmla="*/ 0 h 242"/>
                <a:gd name="T56" fmla="*/ 9 w 301"/>
                <a:gd name="T57" fmla="*/ 1 h 242"/>
                <a:gd name="T58" fmla="*/ 5 w 301"/>
                <a:gd name="T59" fmla="*/ 5 h 242"/>
                <a:gd name="T60" fmla="*/ 1 w 301"/>
                <a:gd name="T61" fmla="*/ 10 h 242"/>
                <a:gd name="T62" fmla="*/ 0 w 301"/>
                <a:gd name="T63" fmla="*/ 15 h 242"/>
                <a:gd name="T64" fmla="*/ 0 w 301"/>
                <a:gd name="T65" fmla="*/ 229 h 242"/>
                <a:gd name="T66" fmla="*/ 2 w 301"/>
                <a:gd name="T67" fmla="*/ 235 h 242"/>
                <a:gd name="T68" fmla="*/ 7 w 301"/>
                <a:gd name="T69" fmla="*/ 239 h 242"/>
                <a:gd name="T70" fmla="*/ 12 w 301"/>
                <a:gd name="T71" fmla="*/ 241 h 242"/>
                <a:gd name="T72" fmla="*/ 15 w 301"/>
                <a:gd name="T73" fmla="*/ 242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01" h="242">
                  <a:moveTo>
                    <a:pt x="75" y="151"/>
                  </a:moveTo>
                  <a:lnTo>
                    <a:pt x="135" y="151"/>
                  </a:lnTo>
                  <a:lnTo>
                    <a:pt x="139" y="152"/>
                  </a:lnTo>
                  <a:lnTo>
                    <a:pt x="141" y="153"/>
                  </a:lnTo>
                  <a:lnTo>
                    <a:pt x="144" y="154"/>
                  </a:lnTo>
                  <a:lnTo>
                    <a:pt x="146" y="156"/>
                  </a:lnTo>
                  <a:lnTo>
                    <a:pt x="148" y="158"/>
                  </a:lnTo>
                  <a:lnTo>
                    <a:pt x="149" y="160"/>
                  </a:lnTo>
                  <a:lnTo>
                    <a:pt x="150" y="163"/>
                  </a:lnTo>
                  <a:lnTo>
                    <a:pt x="150" y="167"/>
                  </a:lnTo>
                  <a:lnTo>
                    <a:pt x="150" y="169"/>
                  </a:lnTo>
                  <a:lnTo>
                    <a:pt x="149" y="172"/>
                  </a:lnTo>
                  <a:lnTo>
                    <a:pt x="148" y="174"/>
                  </a:lnTo>
                  <a:lnTo>
                    <a:pt x="146" y="176"/>
                  </a:lnTo>
                  <a:lnTo>
                    <a:pt x="144" y="178"/>
                  </a:lnTo>
                  <a:lnTo>
                    <a:pt x="141" y="181"/>
                  </a:lnTo>
                  <a:lnTo>
                    <a:pt x="139" y="181"/>
                  </a:lnTo>
                  <a:lnTo>
                    <a:pt x="135" y="182"/>
                  </a:lnTo>
                  <a:lnTo>
                    <a:pt x="75" y="182"/>
                  </a:lnTo>
                  <a:lnTo>
                    <a:pt x="72" y="181"/>
                  </a:lnTo>
                  <a:lnTo>
                    <a:pt x="69" y="181"/>
                  </a:lnTo>
                  <a:lnTo>
                    <a:pt x="67" y="178"/>
                  </a:lnTo>
                  <a:lnTo>
                    <a:pt x="65" y="176"/>
                  </a:lnTo>
                  <a:lnTo>
                    <a:pt x="63" y="174"/>
                  </a:lnTo>
                  <a:lnTo>
                    <a:pt x="61" y="172"/>
                  </a:lnTo>
                  <a:lnTo>
                    <a:pt x="60" y="169"/>
                  </a:lnTo>
                  <a:lnTo>
                    <a:pt x="60" y="167"/>
                  </a:lnTo>
                  <a:lnTo>
                    <a:pt x="60" y="163"/>
                  </a:lnTo>
                  <a:lnTo>
                    <a:pt x="61" y="160"/>
                  </a:lnTo>
                  <a:lnTo>
                    <a:pt x="63" y="158"/>
                  </a:lnTo>
                  <a:lnTo>
                    <a:pt x="65" y="156"/>
                  </a:lnTo>
                  <a:lnTo>
                    <a:pt x="67" y="154"/>
                  </a:lnTo>
                  <a:lnTo>
                    <a:pt x="69" y="153"/>
                  </a:lnTo>
                  <a:lnTo>
                    <a:pt x="72" y="152"/>
                  </a:lnTo>
                  <a:lnTo>
                    <a:pt x="75" y="152"/>
                  </a:lnTo>
                  <a:lnTo>
                    <a:pt x="75" y="151"/>
                  </a:lnTo>
                  <a:close/>
                  <a:moveTo>
                    <a:pt x="15" y="242"/>
                  </a:moveTo>
                  <a:lnTo>
                    <a:pt x="286" y="242"/>
                  </a:lnTo>
                  <a:lnTo>
                    <a:pt x="289" y="241"/>
                  </a:lnTo>
                  <a:lnTo>
                    <a:pt x="292" y="241"/>
                  </a:lnTo>
                  <a:lnTo>
                    <a:pt x="294" y="239"/>
                  </a:lnTo>
                  <a:lnTo>
                    <a:pt x="296" y="237"/>
                  </a:lnTo>
                  <a:lnTo>
                    <a:pt x="298" y="235"/>
                  </a:lnTo>
                  <a:lnTo>
                    <a:pt x="300" y="232"/>
                  </a:lnTo>
                  <a:lnTo>
                    <a:pt x="301" y="230"/>
                  </a:lnTo>
                  <a:lnTo>
                    <a:pt x="301" y="227"/>
                  </a:lnTo>
                  <a:lnTo>
                    <a:pt x="301" y="15"/>
                  </a:lnTo>
                  <a:lnTo>
                    <a:pt x="301" y="12"/>
                  </a:lnTo>
                  <a:lnTo>
                    <a:pt x="300" y="10"/>
                  </a:lnTo>
                  <a:lnTo>
                    <a:pt x="298" y="7"/>
                  </a:lnTo>
                  <a:lnTo>
                    <a:pt x="296" y="5"/>
                  </a:lnTo>
                  <a:lnTo>
                    <a:pt x="294" y="4"/>
                  </a:lnTo>
                  <a:lnTo>
                    <a:pt x="292" y="1"/>
                  </a:lnTo>
                  <a:lnTo>
                    <a:pt x="289" y="0"/>
                  </a:lnTo>
                  <a:lnTo>
                    <a:pt x="286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7" y="4"/>
                  </a:lnTo>
                  <a:lnTo>
                    <a:pt x="5" y="5"/>
                  </a:lnTo>
                  <a:lnTo>
                    <a:pt x="2" y="7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227"/>
                  </a:lnTo>
                  <a:lnTo>
                    <a:pt x="0" y="229"/>
                  </a:lnTo>
                  <a:lnTo>
                    <a:pt x="1" y="232"/>
                  </a:lnTo>
                  <a:lnTo>
                    <a:pt x="2" y="235"/>
                  </a:lnTo>
                  <a:lnTo>
                    <a:pt x="5" y="237"/>
                  </a:lnTo>
                  <a:lnTo>
                    <a:pt x="7" y="239"/>
                  </a:lnTo>
                  <a:lnTo>
                    <a:pt x="9" y="241"/>
                  </a:lnTo>
                  <a:lnTo>
                    <a:pt x="12" y="241"/>
                  </a:lnTo>
                  <a:lnTo>
                    <a:pt x="15" y="242"/>
                  </a:lnTo>
                  <a:lnTo>
                    <a:pt x="15" y="242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374">
              <a:extLst>
                <a:ext uri="{FF2B5EF4-FFF2-40B4-BE49-F238E27FC236}">
                  <a16:creationId xmlns:a16="http://schemas.microsoft.com/office/drawing/2014/main" id="{197E09D9-FB4A-4CE2-B350-A66ECFDEC3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4496" y="2295424"/>
              <a:ext cx="164334" cy="131467"/>
            </a:xfrm>
            <a:custGeom>
              <a:avLst/>
              <a:gdLst>
                <a:gd name="T0" fmla="*/ 135 w 301"/>
                <a:gd name="T1" fmla="*/ 151 h 242"/>
                <a:gd name="T2" fmla="*/ 141 w 301"/>
                <a:gd name="T3" fmla="*/ 153 h 242"/>
                <a:gd name="T4" fmla="*/ 146 w 301"/>
                <a:gd name="T5" fmla="*/ 156 h 242"/>
                <a:gd name="T6" fmla="*/ 149 w 301"/>
                <a:gd name="T7" fmla="*/ 160 h 242"/>
                <a:gd name="T8" fmla="*/ 150 w 301"/>
                <a:gd name="T9" fmla="*/ 167 h 242"/>
                <a:gd name="T10" fmla="*/ 149 w 301"/>
                <a:gd name="T11" fmla="*/ 172 h 242"/>
                <a:gd name="T12" fmla="*/ 146 w 301"/>
                <a:gd name="T13" fmla="*/ 176 h 242"/>
                <a:gd name="T14" fmla="*/ 141 w 301"/>
                <a:gd name="T15" fmla="*/ 181 h 242"/>
                <a:gd name="T16" fmla="*/ 135 w 301"/>
                <a:gd name="T17" fmla="*/ 182 h 242"/>
                <a:gd name="T18" fmla="*/ 72 w 301"/>
                <a:gd name="T19" fmla="*/ 181 h 242"/>
                <a:gd name="T20" fmla="*/ 67 w 301"/>
                <a:gd name="T21" fmla="*/ 178 h 242"/>
                <a:gd name="T22" fmla="*/ 63 w 301"/>
                <a:gd name="T23" fmla="*/ 174 h 242"/>
                <a:gd name="T24" fmla="*/ 60 w 301"/>
                <a:gd name="T25" fmla="*/ 169 h 242"/>
                <a:gd name="T26" fmla="*/ 60 w 301"/>
                <a:gd name="T27" fmla="*/ 163 h 242"/>
                <a:gd name="T28" fmla="*/ 63 w 301"/>
                <a:gd name="T29" fmla="*/ 158 h 242"/>
                <a:gd name="T30" fmla="*/ 67 w 301"/>
                <a:gd name="T31" fmla="*/ 154 h 242"/>
                <a:gd name="T32" fmla="*/ 72 w 301"/>
                <a:gd name="T33" fmla="*/ 152 h 242"/>
                <a:gd name="T34" fmla="*/ 75 w 301"/>
                <a:gd name="T35" fmla="*/ 151 h 242"/>
                <a:gd name="T36" fmla="*/ 286 w 301"/>
                <a:gd name="T37" fmla="*/ 242 h 242"/>
                <a:gd name="T38" fmla="*/ 292 w 301"/>
                <a:gd name="T39" fmla="*/ 241 h 242"/>
                <a:gd name="T40" fmla="*/ 296 w 301"/>
                <a:gd name="T41" fmla="*/ 237 h 242"/>
                <a:gd name="T42" fmla="*/ 300 w 301"/>
                <a:gd name="T43" fmla="*/ 232 h 242"/>
                <a:gd name="T44" fmla="*/ 301 w 301"/>
                <a:gd name="T45" fmla="*/ 227 h 242"/>
                <a:gd name="T46" fmla="*/ 301 w 301"/>
                <a:gd name="T47" fmla="*/ 12 h 242"/>
                <a:gd name="T48" fmla="*/ 298 w 301"/>
                <a:gd name="T49" fmla="*/ 7 h 242"/>
                <a:gd name="T50" fmla="*/ 294 w 301"/>
                <a:gd name="T51" fmla="*/ 4 h 242"/>
                <a:gd name="T52" fmla="*/ 289 w 301"/>
                <a:gd name="T53" fmla="*/ 0 h 242"/>
                <a:gd name="T54" fmla="*/ 15 w 301"/>
                <a:gd name="T55" fmla="*/ 0 h 242"/>
                <a:gd name="T56" fmla="*/ 9 w 301"/>
                <a:gd name="T57" fmla="*/ 1 h 242"/>
                <a:gd name="T58" fmla="*/ 5 w 301"/>
                <a:gd name="T59" fmla="*/ 5 h 242"/>
                <a:gd name="T60" fmla="*/ 1 w 301"/>
                <a:gd name="T61" fmla="*/ 10 h 242"/>
                <a:gd name="T62" fmla="*/ 0 w 301"/>
                <a:gd name="T63" fmla="*/ 15 h 242"/>
                <a:gd name="T64" fmla="*/ 0 w 301"/>
                <a:gd name="T65" fmla="*/ 229 h 242"/>
                <a:gd name="T66" fmla="*/ 2 w 301"/>
                <a:gd name="T67" fmla="*/ 235 h 242"/>
                <a:gd name="T68" fmla="*/ 7 w 301"/>
                <a:gd name="T69" fmla="*/ 239 h 242"/>
                <a:gd name="T70" fmla="*/ 12 w 301"/>
                <a:gd name="T71" fmla="*/ 241 h 242"/>
                <a:gd name="T72" fmla="*/ 15 w 301"/>
                <a:gd name="T73" fmla="*/ 242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01" h="242">
                  <a:moveTo>
                    <a:pt x="75" y="151"/>
                  </a:moveTo>
                  <a:lnTo>
                    <a:pt x="135" y="151"/>
                  </a:lnTo>
                  <a:lnTo>
                    <a:pt x="139" y="152"/>
                  </a:lnTo>
                  <a:lnTo>
                    <a:pt x="141" y="153"/>
                  </a:lnTo>
                  <a:lnTo>
                    <a:pt x="144" y="154"/>
                  </a:lnTo>
                  <a:lnTo>
                    <a:pt x="146" y="156"/>
                  </a:lnTo>
                  <a:lnTo>
                    <a:pt x="148" y="158"/>
                  </a:lnTo>
                  <a:lnTo>
                    <a:pt x="149" y="160"/>
                  </a:lnTo>
                  <a:lnTo>
                    <a:pt x="150" y="163"/>
                  </a:lnTo>
                  <a:lnTo>
                    <a:pt x="150" y="167"/>
                  </a:lnTo>
                  <a:lnTo>
                    <a:pt x="150" y="169"/>
                  </a:lnTo>
                  <a:lnTo>
                    <a:pt x="149" y="172"/>
                  </a:lnTo>
                  <a:lnTo>
                    <a:pt x="148" y="174"/>
                  </a:lnTo>
                  <a:lnTo>
                    <a:pt x="146" y="176"/>
                  </a:lnTo>
                  <a:lnTo>
                    <a:pt x="144" y="178"/>
                  </a:lnTo>
                  <a:lnTo>
                    <a:pt x="141" y="181"/>
                  </a:lnTo>
                  <a:lnTo>
                    <a:pt x="139" y="181"/>
                  </a:lnTo>
                  <a:lnTo>
                    <a:pt x="135" y="182"/>
                  </a:lnTo>
                  <a:lnTo>
                    <a:pt x="75" y="182"/>
                  </a:lnTo>
                  <a:lnTo>
                    <a:pt x="72" y="181"/>
                  </a:lnTo>
                  <a:lnTo>
                    <a:pt x="69" y="181"/>
                  </a:lnTo>
                  <a:lnTo>
                    <a:pt x="67" y="178"/>
                  </a:lnTo>
                  <a:lnTo>
                    <a:pt x="65" y="176"/>
                  </a:lnTo>
                  <a:lnTo>
                    <a:pt x="63" y="174"/>
                  </a:lnTo>
                  <a:lnTo>
                    <a:pt x="61" y="172"/>
                  </a:lnTo>
                  <a:lnTo>
                    <a:pt x="60" y="169"/>
                  </a:lnTo>
                  <a:lnTo>
                    <a:pt x="60" y="167"/>
                  </a:lnTo>
                  <a:lnTo>
                    <a:pt x="60" y="163"/>
                  </a:lnTo>
                  <a:lnTo>
                    <a:pt x="61" y="160"/>
                  </a:lnTo>
                  <a:lnTo>
                    <a:pt x="63" y="158"/>
                  </a:lnTo>
                  <a:lnTo>
                    <a:pt x="65" y="156"/>
                  </a:lnTo>
                  <a:lnTo>
                    <a:pt x="67" y="154"/>
                  </a:lnTo>
                  <a:lnTo>
                    <a:pt x="69" y="153"/>
                  </a:lnTo>
                  <a:lnTo>
                    <a:pt x="72" y="152"/>
                  </a:lnTo>
                  <a:lnTo>
                    <a:pt x="75" y="152"/>
                  </a:lnTo>
                  <a:lnTo>
                    <a:pt x="75" y="151"/>
                  </a:lnTo>
                  <a:close/>
                  <a:moveTo>
                    <a:pt x="15" y="242"/>
                  </a:moveTo>
                  <a:lnTo>
                    <a:pt x="286" y="242"/>
                  </a:lnTo>
                  <a:lnTo>
                    <a:pt x="289" y="241"/>
                  </a:lnTo>
                  <a:lnTo>
                    <a:pt x="292" y="241"/>
                  </a:lnTo>
                  <a:lnTo>
                    <a:pt x="294" y="239"/>
                  </a:lnTo>
                  <a:lnTo>
                    <a:pt x="296" y="237"/>
                  </a:lnTo>
                  <a:lnTo>
                    <a:pt x="298" y="235"/>
                  </a:lnTo>
                  <a:lnTo>
                    <a:pt x="300" y="232"/>
                  </a:lnTo>
                  <a:lnTo>
                    <a:pt x="301" y="230"/>
                  </a:lnTo>
                  <a:lnTo>
                    <a:pt x="301" y="227"/>
                  </a:lnTo>
                  <a:lnTo>
                    <a:pt x="301" y="15"/>
                  </a:lnTo>
                  <a:lnTo>
                    <a:pt x="301" y="12"/>
                  </a:lnTo>
                  <a:lnTo>
                    <a:pt x="300" y="10"/>
                  </a:lnTo>
                  <a:lnTo>
                    <a:pt x="298" y="7"/>
                  </a:lnTo>
                  <a:lnTo>
                    <a:pt x="296" y="5"/>
                  </a:lnTo>
                  <a:lnTo>
                    <a:pt x="294" y="4"/>
                  </a:lnTo>
                  <a:lnTo>
                    <a:pt x="292" y="1"/>
                  </a:lnTo>
                  <a:lnTo>
                    <a:pt x="289" y="0"/>
                  </a:lnTo>
                  <a:lnTo>
                    <a:pt x="286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7" y="4"/>
                  </a:lnTo>
                  <a:lnTo>
                    <a:pt x="5" y="5"/>
                  </a:lnTo>
                  <a:lnTo>
                    <a:pt x="2" y="7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227"/>
                  </a:lnTo>
                  <a:lnTo>
                    <a:pt x="0" y="229"/>
                  </a:lnTo>
                  <a:lnTo>
                    <a:pt x="1" y="232"/>
                  </a:lnTo>
                  <a:lnTo>
                    <a:pt x="2" y="235"/>
                  </a:lnTo>
                  <a:lnTo>
                    <a:pt x="5" y="237"/>
                  </a:lnTo>
                  <a:lnTo>
                    <a:pt x="7" y="239"/>
                  </a:lnTo>
                  <a:lnTo>
                    <a:pt x="9" y="241"/>
                  </a:lnTo>
                  <a:lnTo>
                    <a:pt x="12" y="241"/>
                  </a:lnTo>
                  <a:lnTo>
                    <a:pt x="15" y="242"/>
                  </a:lnTo>
                  <a:lnTo>
                    <a:pt x="15" y="242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F7EAB95E-5961-4E6C-97C4-180002552D68}"/>
              </a:ext>
            </a:extLst>
          </p:cNvPr>
          <p:cNvGrpSpPr/>
          <p:nvPr/>
        </p:nvGrpSpPr>
        <p:grpSpPr>
          <a:xfrm>
            <a:off x="744939" y="2175185"/>
            <a:ext cx="557642" cy="554560"/>
            <a:chOff x="4892675" y="1919288"/>
            <a:chExt cx="287338" cy="285750"/>
          </a:xfrm>
          <a:solidFill>
            <a:schemeClr val="accent2"/>
          </a:solidFill>
        </p:grpSpPr>
        <p:sp>
          <p:nvSpPr>
            <p:cNvPr id="69" name="Freeform 509">
              <a:extLst>
                <a:ext uri="{FF2B5EF4-FFF2-40B4-BE49-F238E27FC236}">
                  <a16:creationId xmlns:a16="http://schemas.microsoft.com/office/drawing/2014/main" id="{5A487701-ADCF-4237-9F4A-ED309EF8B2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2675" y="1976438"/>
              <a:ext cx="182563" cy="133350"/>
            </a:xfrm>
            <a:custGeom>
              <a:avLst/>
              <a:gdLst>
                <a:gd name="T0" fmla="*/ 572 w 572"/>
                <a:gd name="T1" fmla="*/ 124 h 422"/>
                <a:gd name="T2" fmla="*/ 572 w 572"/>
                <a:gd name="T3" fmla="*/ 0 h 422"/>
                <a:gd name="T4" fmla="*/ 0 w 572"/>
                <a:gd name="T5" fmla="*/ 0 h 422"/>
                <a:gd name="T6" fmla="*/ 0 w 572"/>
                <a:gd name="T7" fmla="*/ 407 h 422"/>
                <a:gd name="T8" fmla="*/ 0 w 572"/>
                <a:gd name="T9" fmla="*/ 410 h 422"/>
                <a:gd name="T10" fmla="*/ 1 w 572"/>
                <a:gd name="T11" fmla="*/ 412 h 422"/>
                <a:gd name="T12" fmla="*/ 2 w 572"/>
                <a:gd name="T13" fmla="*/ 415 h 422"/>
                <a:gd name="T14" fmla="*/ 4 w 572"/>
                <a:gd name="T15" fmla="*/ 417 h 422"/>
                <a:gd name="T16" fmla="*/ 6 w 572"/>
                <a:gd name="T17" fmla="*/ 419 h 422"/>
                <a:gd name="T18" fmla="*/ 8 w 572"/>
                <a:gd name="T19" fmla="*/ 421 h 422"/>
                <a:gd name="T20" fmla="*/ 12 w 572"/>
                <a:gd name="T21" fmla="*/ 422 h 422"/>
                <a:gd name="T22" fmla="*/ 15 w 572"/>
                <a:gd name="T23" fmla="*/ 422 h 422"/>
                <a:gd name="T24" fmla="*/ 301 w 572"/>
                <a:gd name="T25" fmla="*/ 422 h 422"/>
                <a:gd name="T26" fmla="*/ 302 w 572"/>
                <a:gd name="T27" fmla="*/ 408 h 422"/>
                <a:gd name="T28" fmla="*/ 303 w 572"/>
                <a:gd name="T29" fmla="*/ 394 h 422"/>
                <a:gd name="T30" fmla="*/ 307 w 572"/>
                <a:gd name="T31" fmla="*/ 380 h 422"/>
                <a:gd name="T32" fmla="*/ 309 w 572"/>
                <a:gd name="T33" fmla="*/ 366 h 422"/>
                <a:gd name="T34" fmla="*/ 312 w 572"/>
                <a:gd name="T35" fmla="*/ 353 h 422"/>
                <a:gd name="T36" fmla="*/ 316 w 572"/>
                <a:gd name="T37" fmla="*/ 339 h 422"/>
                <a:gd name="T38" fmla="*/ 321 w 572"/>
                <a:gd name="T39" fmla="*/ 326 h 422"/>
                <a:gd name="T40" fmla="*/ 326 w 572"/>
                <a:gd name="T41" fmla="*/ 314 h 422"/>
                <a:gd name="T42" fmla="*/ 331 w 572"/>
                <a:gd name="T43" fmla="*/ 301 h 422"/>
                <a:gd name="T44" fmla="*/ 338 w 572"/>
                <a:gd name="T45" fmla="*/ 290 h 422"/>
                <a:gd name="T46" fmla="*/ 344 w 572"/>
                <a:gd name="T47" fmla="*/ 278 h 422"/>
                <a:gd name="T48" fmla="*/ 351 w 572"/>
                <a:gd name="T49" fmla="*/ 266 h 422"/>
                <a:gd name="T50" fmla="*/ 358 w 572"/>
                <a:gd name="T51" fmla="*/ 255 h 422"/>
                <a:gd name="T52" fmla="*/ 367 w 572"/>
                <a:gd name="T53" fmla="*/ 245 h 422"/>
                <a:gd name="T54" fmla="*/ 375 w 572"/>
                <a:gd name="T55" fmla="*/ 234 h 422"/>
                <a:gd name="T56" fmla="*/ 384 w 572"/>
                <a:gd name="T57" fmla="*/ 224 h 422"/>
                <a:gd name="T58" fmla="*/ 392 w 572"/>
                <a:gd name="T59" fmla="*/ 215 h 422"/>
                <a:gd name="T60" fmla="*/ 402 w 572"/>
                <a:gd name="T61" fmla="*/ 205 h 422"/>
                <a:gd name="T62" fmla="*/ 413 w 572"/>
                <a:gd name="T63" fmla="*/ 196 h 422"/>
                <a:gd name="T64" fmla="*/ 422 w 572"/>
                <a:gd name="T65" fmla="*/ 188 h 422"/>
                <a:gd name="T66" fmla="*/ 433 w 572"/>
                <a:gd name="T67" fmla="*/ 179 h 422"/>
                <a:gd name="T68" fmla="*/ 445 w 572"/>
                <a:gd name="T69" fmla="*/ 172 h 422"/>
                <a:gd name="T70" fmla="*/ 456 w 572"/>
                <a:gd name="T71" fmla="*/ 165 h 422"/>
                <a:gd name="T72" fmla="*/ 467 w 572"/>
                <a:gd name="T73" fmla="*/ 158 h 422"/>
                <a:gd name="T74" fmla="*/ 480 w 572"/>
                <a:gd name="T75" fmla="*/ 152 h 422"/>
                <a:gd name="T76" fmla="*/ 492 w 572"/>
                <a:gd name="T77" fmla="*/ 146 h 422"/>
                <a:gd name="T78" fmla="*/ 505 w 572"/>
                <a:gd name="T79" fmla="*/ 142 h 422"/>
                <a:gd name="T80" fmla="*/ 518 w 572"/>
                <a:gd name="T81" fmla="*/ 136 h 422"/>
                <a:gd name="T82" fmla="*/ 531 w 572"/>
                <a:gd name="T83" fmla="*/ 133 h 422"/>
                <a:gd name="T84" fmla="*/ 544 w 572"/>
                <a:gd name="T85" fmla="*/ 129 h 422"/>
                <a:gd name="T86" fmla="*/ 558 w 572"/>
                <a:gd name="T87" fmla="*/ 127 h 422"/>
                <a:gd name="T88" fmla="*/ 572 w 572"/>
                <a:gd name="T89" fmla="*/ 124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72" h="422">
                  <a:moveTo>
                    <a:pt x="572" y="124"/>
                  </a:moveTo>
                  <a:lnTo>
                    <a:pt x="572" y="0"/>
                  </a:lnTo>
                  <a:lnTo>
                    <a:pt x="0" y="0"/>
                  </a:lnTo>
                  <a:lnTo>
                    <a:pt x="0" y="407"/>
                  </a:lnTo>
                  <a:lnTo>
                    <a:pt x="0" y="410"/>
                  </a:lnTo>
                  <a:lnTo>
                    <a:pt x="1" y="412"/>
                  </a:lnTo>
                  <a:lnTo>
                    <a:pt x="2" y="415"/>
                  </a:lnTo>
                  <a:lnTo>
                    <a:pt x="4" y="417"/>
                  </a:lnTo>
                  <a:lnTo>
                    <a:pt x="6" y="419"/>
                  </a:lnTo>
                  <a:lnTo>
                    <a:pt x="8" y="421"/>
                  </a:lnTo>
                  <a:lnTo>
                    <a:pt x="12" y="422"/>
                  </a:lnTo>
                  <a:lnTo>
                    <a:pt x="15" y="422"/>
                  </a:lnTo>
                  <a:lnTo>
                    <a:pt x="301" y="422"/>
                  </a:lnTo>
                  <a:lnTo>
                    <a:pt x="302" y="408"/>
                  </a:lnTo>
                  <a:lnTo>
                    <a:pt x="303" y="394"/>
                  </a:lnTo>
                  <a:lnTo>
                    <a:pt x="307" y="380"/>
                  </a:lnTo>
                  <a:lnTo>
                    <a:pt x="309" y="366"/>
                  </a:lnTo>
                  <a:lnTo>
                    <a:pt x="312" y="353"/>
                  </a:lnTo>
                  <a:lnTo>
                    <a:pt x="316" y="339"/>
                  </a:lnTo>
                  <a:lnTo>
                    <a:pt x="321" y="326"/>
                  </a:lnTo>
                  <a:lnTo>
                    <a:pt x="326" y="314"/>
                  </a:lnTo>
                  <a:lnTo>
                    <a:pt x="331" y="301"/>
                  </a:lnTo>
                  <a:lnTo>
                    <a:pt x="338" y="290"/>
                  </a:lnTo>
                  <a:lnTo>
                    <a:pt x="344" y="278"/>
                  </a:lnTo>
                  <a:lnTo>
                    <a:pt x="351" y="266"/>
                  </a:lnTo>
                  <a:lnTo>
                    <a:pt x="358" y="255"/>
                  </a:lnTo>
                  <a:lnTo>
                    <a:pt x="367" y="245"/>
                  </a:lnTo>
                  <a:lnTo>
                    <a:pt x="375" y="234"/>
                  </a:lnTo>
                  <a:lnTo>
                    <a:pt x="384" y="224"/>
                  </a:lnTo>
                  <a:lnTo>
                    <a:pt x="392" y="215"/>
                  </a:lnTo>
                  <a:lnTo>
                    <a:pt x="402" y="205"/>
                  </a:lnTo>
                  <a:lnTo>
                    <a:pt x="413" y="196"/>
                  </a:lnTo>
                  <a:lnTo>
                    <a:pt x="422" y="188"/>
                  </a:lnTo>
                  <a:lnTo>
                    <a:pt x="433" y="179"/>
                  </a:lnTo>
                  <a:lnTo>
                    <a:pt x="445" y="172"/>
                  </a:lnTo>
                  <a:lnTo>
                    <a:pt x="456" y="165"/>
                  </a:lnTo>
                  <a:lnTo>
                    <a:pt x="467" y="158"/>
                  </a:lnTo>
                  <a:lnTo>
                    <a:pt x="480" y="152"/>
                  </a:lnTo>
                  <a:lnTo>
                    <a:pt x="492" y="146"/>
                  </a:lnTo>
                  <a:lnTo>
                    <a:pt x="505" y="142"/>
                  </a:lnTo>
                  <a:lnTo>
                    <a:pt x="518" y="136"/>
                  </a:lnTo>
                  <a:lnTo>
                    <a:pt x="531" y="133"/>
                  </a:lnTo>
                  <a:lnTo>
                    <a:pt x="544" y="129"/>
                  </a:lnTo>
                  <a:lnTo>
                    <a:pt x="558" y="127"/>
                  </a:lnTo>
                  <a:lnTo>
                    <a:pt x="572" y="1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510">
              <a:extLst>
                <a:ext uri="{FF2B5EF4-FFF2-40B4-BE49-F238E27FC236}">
                  <a16:creationId xmlns:a16="http://schemas.microsoft.com/office/drawing/2014/main" id="{CB463FA8-F184-4AD2-8953-CAC6A12F39E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7925" y="1919288"/>
              <a:ext cx="84138" cy="47625"/>
            </a:xfrm>
            <a:custGeom>
              <a:avLst/>
              <a:gdLst>
                <a:gd name="T0" fmla="*/ 117 w 263"/>
                <a:gd name="T1" fmla="*/ 4 h 150"/>
                <a:gd name="T2" fmla="*/ 114 w 263"/>
                <a:gd name="T3" fmla="*/ 2 h 150"/>
                <a:gd name="T4" fmla="*/ 112 w 263"/>
                <a:gd name="T5" fmla="*/ 1 h 150"/>
                <a:gd name="T6" fmla="*/ 108 w 263"/>
                <a:gd name="T7" fmla="*/ 0 h 150"/>
                <a:gd name="T8" fmla="*/ 106 w 263"/>
                <a:gd name="T9" fmla="*/ 0 h 150"/>
                <a:gd name="T10" fmla="*/ 0 w 263"/>
                <a:gd name="T11" fmla="*/ 0 h 150"/>
                <a:gd name="T12" fmla="*/ 0 w 263"/>
                <a:gd name="T13" fmla="*/ 150 h 150"/>
                <a:gd name="T14" fmla="*/ 263 w 263"/>
                <a:gd name="T15" fmla="*/ 150 h 150"/>
                <a:gd name="T16" fmla="*/ 117 w 263"/>
                <a:gd name="T17" fmla="*/ 4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3" h="150">
                  <a:moveTo>
                    <a:pt x="117" y="4"/>
                  </a:moveTo>
                  <a:lnTo>
                    <a:pt x="114" y="2"/>
                  </a:lnTo>
                  <a:lnTo>
                    <a:pt x="112" y="1"/>
                  </a:lnTo>
                  <a:lnTo>
                    <a:pt x="108" y="0"/>
                  </a:lnTo>
                  <a:lnTo>
                    <a:pt x="106" y="0"/>
                  </a:lnTo>
                  <a:lnTo>
                    <a:pt x="0" y="0"/>
                  </a:lnTo>
                  <a:lnTo>
                    <a:pt x="0" y="150"/>
                  </a:lnTo>
                  <a:lnTo>
                    <a:pt x="263" y="150"/>
                  </a:lnTo>
                  <a:lnTo>
                    <a:pt x="117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511">
              <a:extLst>
                <a:ext uri="{FF2B5EF4-FFF2-40B4-BE49-F238E27FC236}">
                  <a16:creationId xmlns:a16="http://schemas.microsoft.com/office/drawing/2014/main" id="{2A6FDCF7-BFC3-479C-B3AC-196C9FFFA29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5850" y="1919288"/>
              <a:ext cx="82550" cy="47625"/>
            </a:xfrm>
            <a:custGeom>
              <a:avLst/>
              <a:gdLst>
                <a:gd name="T0" fmla="*/ 262 w 262"/>
                <a:gd name="T1" fmla="*/ 0 h 150"/>
                <a:gd name="T2" fmla="*/ 157 w 262"/>
                <a:gd name="T3" fmla="*/ 0 h 150"/>
                <a:gd name="T4" fmla="*/ 154 w 262"/>
                <a:gd name="T5" fmla="*/ 0 h 150"/>
                <a:gd name="T6" fmla="*/ 152 w 262"/>
                <a:gd name="T7" fmla="*/ 1 h 150"/>
                <a:gd name="T8" fmla="*/ 148 w 262"/>
                <a:gd name="T9" fmla="*/ 2 h 150"/>
                <a:gd name="T10" fmla="*/ 146 w 262"/>
                <a:gd name="T11" fmla="*/ 4 h 150"/>
                <a:gd name="T12" fmla="*/ 0 w 262"/>
                <a:gd name="T13" fmla="*/ 150 h 150"/>
                <a:gd name="T14" fmla="*/ 262 w 262"/>
                <a:gd name="T15" fmla="*/ 150 h 150"/>
                <a:gd name="T16" fmla="*/ 262 w 262"/>
                <a:gd name="T17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2" h="150">
                  <a:moveTo>
                    <a:pt x="262" y="0"/>
                  </a:moveTo>
                  <a:lnTo>
                    <a:pt x="157" y="0"/>
                  </a:lnTo>
                  <a:lnTo>
                    <a:pt x="154" y="0"/>
                  </a:lnTo>
                  <a:lnTo>
                    <a:pt x="152" y="1"/>
                  </a:lnTo>
                  <a:lnTo>
                    <a:pt x="148" y="2"/>
                  </a:lnTo>
                  <a:lnTo>
                    <a:pt x="146" y="4"/>
                  </a:lnTo>
                  <a:lnTo>
                    <a:pt x="0" y="150"/>
                  </a:lnTo>
                  <a:lnTo>
                    <a:pt x="262" y="150"/>
                  </a:lnTo>
                  <a:lnTo>
                    <a:pt x="26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512">
              <a:extLst>
                <a:ext uri="{FF2B5EF4-FFF2-40B4-BE49-F238E27FC236}">
                  <a16:creationId xmlns:a16="http://schemas.microsoft.com/office/drawing/2014/main" id="{0AA6A3A5-3010-47CD-BEAD-F113AB27D1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97450" y="2024063"/>
              <a:ext cx="182563" cy="180975"/>
            </a:xfrm>
            <a:custGeom>
              <a:avLst/>
              <a:gdLst>
                <a:gd name="T0" fmla="*/ 410 w 573"/>
                <a:gd name="T1" fmla="*/ 272 h 573"/>
                <a:gd name="T2" fmla="*/ 399 w 573"/>
                <a:gd name="T3" fmla="*/ 269 h 573"/>
                <a:gd name="T4" fmla="*/ 302 w 573"/>
                <a:gd name="T5" fmla="*/ 410 h 573"/>
                <a:gd name="T6" fmla="*/ 295 w 573"/>
                <a:gd name="T7" fmla="*/ 420 h 573"/>
                <a:gd name="T8" fmla="*/ 283 w 573"/>
                <a:gd name="T9" fmla="*/ 422 h 573"/>
                <a:gd name="T10" fmla="*/ 274 w 573"/>
                <a:gd name="T11" fmla="*/ 415 h 573"/>
                <a:gd name="T12" fmla="*/ 272 w 573"/>
                <a:gd name="T13" fmla="*/ 173 h 573"/>
                <a:gd name="T14" fmla="*/ 170 w 573"/>
                <a:gd name="T15" fmla="*/ 272 h 573"/>
                <a:gd name="T16" fmla="*/ 158 w 573"/>
                <a:gd name="T17" fmla="*/ 269 h 573"/>
                <a:gd name="T18" fmla="*/ 151 w 573"/>
                <a:gd name="T19" fmla="*/ 260 h 573"/>
                <a:gd name="T20" fmla="*/ 154 w 573"/>
                <a:gd name="T21" fmla="*/ 248 h 573"/>
                <a:gd name="T22" fmla="*/ 281 w 573"/>
                <a:gd name="T23" fmla="*/ 123 h 573"/>
                <a:gd name="T24" fmla="*/ 287 w 573"/>
                <a:gd name="T25" fmla="*/ 121 h 573"/>
                <a:gd name="T26" fmla="*/ 292 w 573"/>
                <a:gd name="T27" fmla="*/ 123 h 573"/>
                <a:gd name="T28" fmla="*/ 420 w 573"/>
                <a:gd name="T29" fmla="*/ 248 h 573"/>
                <a:gd name="T30" fmla="*/ 422 w 573"/>
                <a:gd name="T31" fmla="*/ 260 h 573"/>
                <a:gd name="T32" fmla="*/ 287 w 573"/>
                <a:gd name="T33" fmla="*/ 0 h 573"/>
                <a:gd name="T34" fmla="*/ 229 w 573"/>
                <a:gd name="T35" fmla="*/ 7 h 573"/>
                <a:gd name="T36" fmla="*/ 175 w 573"/>
                <a:gd name="T37" fmla="*/ 23 h 573"/>
                <a:gd name="T38" fmla="*/ 127 w 573"/>
                <a:gd name="T39" fmla="*/ 50 h 573"/>
                <a:gd name="T40" fmla="*/ 85 w 573"/>
                <a:gd name="T41" fmla="*/ 85 h 573"/>
                <a:gd name="T42" fmla="*/ 50 w 573"/>
                <a:gd name="T43" fmla="*/ 127 h 573"/>
                <a:gd name="T44" fmla="*/ 23 w 573"/>
                <a:gd name="T45" fmla="*/ 175 h 573"/>
                <a:gd name="T46" fmla="*/ 7 w 573"/>
                <a:gd name="T47" fmla="*/ 229 h 573"/>
                <a:gd name="T48" fmla="*/ 0 w 573"/>
                <a:gd name="T49" fmla="*/ 287 h 573"/>
                <a:gd name="T50" fmla="*/ 7 w 573"/>
                <a:gd name="T51" fmla="*/ 345 h 573"/>
                <a:gd name="T52" fmla="*/ 23 w 573"/>
                <a:gd name="T53" fmla="*/ 398 h 573"/>
                <a:gd name="T54" fmla="*/ 50 w 573"/>
                <a:gd name="T55" fmla="*/ 446 h 573"/>
                <a:gd name="T56" fmla="*/ 85 w 573"/>
                <a:gd name="T57" fmla="*/ 489 h 573"/>
                <a:gd name="T58" fmla="*/ 127 w 573"/>
                <a:gd name="T59" fmla="*/ 524 h 573"/>
                <a:gd name="T60" fmla="*/ 175 w 573"/>
                <a:gd name="T61" fmla="*/ 550 h 573"/>
                <a:gd name="T62" fmla="*/ 229 w 573"/>
                <a:gd name="T63" fmla="*/ 567 h 573"/>
                <a:gd name="T64" fmla="*/ 287 w 573"/>
                <a:gd name="T65" fmla="*/ 573 h 573"/>
                <a:gd name="T66" fmla="*/ 344 w 573"/>
                <a:gd name="T67" fmla="*/ 567 h 573"/>
                <a:gd name="T68" fmla="*/ 398 w 573"/>
                <a:gd name="T69" fmla="*/ 550 h 573"/>
                <a:gd name="T70" fmla="*/ 446 w 573"/>
                <a:gd name="T71" fmla="*/ 524 h 573"/>
                <a:gd name="T72" fmla="*/ 489 w 573"/>
                <a:gd name="T73" fmla="*/ 489 h 573"/>
                <a:gd name="T74" fmla="*/ 524 w 573"/>
                <a:gd name="T75" fmla="*/ 446 h 573"/>
                <a:gd name="T76" fmla="*/ 550 w 573"/>
                <a:gd name="T77" fmla="*/ 398 h 573"/>
                <a:gd name="T78" fmla="*/ 566 w 573"/>
                <a:gd name="T79" fmla="*/ 345 h 573"/>
                <a:gd name="T80" fmla="*/ 573 w 573"/>
                <a:gd name="T81" fmla="*/ 287 h 573"/>
                <a:gd name="T82" fmla="*/ 566 w 573"/>
                <a:gd name="T83" fmla="*/ 229 h 573"/>
                <a:gd name="T84" fmla="*/ 550 w 573"/>
                <a:gd name="T85" fmla="*/ 175 h 573"/>
                <a:gd name="T86" fmla="*/ 524 w 573"/>
                <a:gd name="T87" fmla="*/ 127 h 573"/>
                <a:gd name="T88" fmla="*/ 489 w 573"/>
                <a:gd name="T89" fmla="*/ 85 h 573"/>
                <a:gd name="T90" fmla="*/ 446 w 573"/>
                <a:gd name="T91" fmla="*/ 50 h 573"/>
                <a:gd name="T92" fmla="*/ 398 w 573"/>
                <a:gd name="T93" fmla="*/ 23 h 573"/>
                <a:gd name="T94" fmla="*/ 344 w 573"/>
                <a:gd name="T95" fmla="*/ 7 h 573"/>
                <a:gd name="T96" fmla="*/ 287 w 573"/>
                <a:gd name="T97" fmla="*/ 0 h 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73" h="573">
                  <a:moveTo>
                    <a:pt x="417" y="267"/>
                  </a:moveTo>
                  <a:lnTo>
                    <a:pt x="415" y="269"/>
                  </a:lnTo>
                  <a:lnTo>
                    <a:pt x="413" y="271"/>
                  </a:lnTo>
                  <a:lnTo>
                    <a:pt x="410" y="272"/>
                  </a:lnTo>
                  <a:lnTo>
                    <a:pt x="407" y="272"/>
                  </a:lnTo>
                  <a:lnTo>
                    <a:pt x="405" y="272"/>
                  </a:lnTo>
                  <a:lnTo>
                    <a:pt x="401" y="271"/>
                  </a:lnTo>
                  <a:lnTo>
                    <a:pt x="399" y="269"/>
                  </a:lnTo>
                  <a:lnTo>
                    <a:pt x="396" y="267"/>
                  </a:lnTo>
                  <a:lnTo>
                    <a:pt x="302" y="173"/>
                  </a:lnTo>
                  <a:lnTo>
                    <a:pt x="302" y="407"/>
                  </a:lnTo>
                  <a:lnTo>
                    <a:pt x="302" y="410"/>
                  </a:lnTo>
                  <a:lnTo>
                    <a:pt x="300" y="413"/>
                  </a:lnTo>
                  <a:lnTo>
                    <a:pt x="299" y="415"/>
                  </a:lnTo>
                  <a:lnTo>
                    <a:pt x="297" y="417"/>
                  </a:lnTo>
                  <a:lnTo>
                    <a:pt x="295" y="420"/>
                  </a:lnTo>
                  <a:lnTo>
                    <a:pt x="293" y="421"/>
                  </a:lnTo>
                  <a:lnTo>
                    <a:pt x="290" y="422"/>
                  </a:lnTo>
                  <a:lnTo>
                    <a:pt x="287" y="422"/>
                  </a:lnTo>
                  <a:lnTo>
                    <a:pt x="283" y="422"/>
                  </a:lnTo>
                  <a:lnTo>
                    <a:pt x="281" y="421"/>
                  </a:lnTo>
                  <a:lnTo>
                    <a:pt x="278" y="420"/>
                  </a:lnTo>
                  <a:lnTo>
                    <a:pt x="276" y="417"/>
                  </a:lnTo>
                  <a:lnTo>
                    <a:pt x="274" y="415"/>
                  </a:lnTo>
                  <a:lnTo>
                    <a:pt x="273" y="413"/>
                  </a:lnTo>
                  <a:lnTo>
                    <a:pt x="272" y="410"/>
                  </a:lnTo>
                  <a:lnTo>
                    <a:pt x="272" y="407"/>
                  </a:lnTo>
                  <a:lnTo>
                    <a:pt x="272" y="173"/>
                  </a:lnTo>
                  <a:lnTo>
                    <a:pt x="177" y="267"/>
                  </a:lnTo>
                  <a:lnTo>
                    <a:pt x="175" y="269"/>
                  </a:lnTo>
                  <a:lnTo>
                    <a:pt x="172" y="271"/>
                  </a:lnTo>
                  <a:lnTo>
                    <a:pt x="170" y="272"/>
                  </a:lnTo>
                  <a:lnTo>
                    <a:pt x="166" y="272"/>
                  </a:lnTo>
                  <a:lnTo>
                    <a:pt x="163" y="272"/>
                  </a:lnTo>
                  <a:lnTo>
                    <a:pt x="161" y="271"/>
                  </a:lnTo>
                  <a:lnTo>
                    <a:pt x="158" y="269"/>
                  </a:lnTo>
                  <a:lnTo>
                    <a:pt x="156" y="267"/>
                  </a:lnTo>
                  <a:lnTo>
                    <a:pt x="154" y="265"/>
                  </a:lnTo>
                  <a:lnTo>
                    <a:pt x="152" y="262"/>
                  </a:lnTo>
                  <a:lnTo>
                    <a:pt x="151" y="260"/>
                  </a:lnTo>
                  <a:lnTo>
                    <a:pt x="151" y="257"/>
                  </a:lnTo>
                  <a:lnTo>
                    <a:pt x="151" y="253"/>
                  </a:lnTo>
                  <a:lnTo>
                    <a:pt x="152" y="251"/>
                  </a:lnTo>
                  <a:lnTo>
                    <a:pt x="154" y="248"/>
                  </a:lnTo>
                  <a:lnTo>
                    <a:pt x="156" y="246"/>
                  </a:lnTo>
                  <a:lnTo>
                    <a:pt x="276" y="126"/>
                  </a:lnTo>
                  <a:lnTo>
                    <a:pt x="278" y="124"/>
                  </a:lnTo>
                  <a:lnTo>
                    <a:pt x="281" y="123"/>
                  </a:lnTo>
                  <a:lnTo>
                    <a:pt x="283" y="121"/>
                  </a:lnTo>
                  <a:lnTo>
                    <a:pt x="287" y="121"/>
                  </a:lnTo>
                  <a:lnTo>
                    <a:pt x="287" y="121"/>
                  </a:lnTo>
                  <a:lnTo>
                    <a:pt x="287" y="121"/>
                  </a:lnTo>
                  <a:lnTo>
                    <a:pt x="287" y="121"/>
                  </a:lnTo>
                  <a:lnTo>
                    <a:pt x="287" y="121"/>
                  </a:lnTo>
                  <a:lnTo>
                    <a:pt x="290" y="121"/>
                  </a:lnTo>
                  <a:lnTo>
                    <a:pt x="292" y="123"/>
                  </a:lnTo>
                  <a:lnTo>
                    <a:pt x="295" y="124"/>
                  </a:lnTo>
                  <a:lnTo>
                    <a:pt x="297" y="126"/>
                  </a:lnTo>
                  <a:lnTo>
                    <a:pt x="417" y="246"/>
                  </a:lnTo>
                  <a:lnTo>
                    <a:pt x="420" y="248"/>
                  </a:lnTo>
                  <a:lnTo>
                    <a:pt x="421" y="251"/>
                  </a:lnTo>
                  <a:lnTo>
                    <a:pt x="422" y="253"/>
                  </a:lnTo>
                  <a:lnTo>
                    <a:pt x="422" y="257"/>
                  </a:lnTo>
                  <a:lnTo>
                    <a:pt x="422" y="260"/>
                  </a:lnTo>
                  <a:lnTo>
                    <a:pt x="421" y="262"/>
                  </a:lnTo>
                  <a:lnTo>
                    <a:pt x="420" y="265"/>
                  </a:lnTo>
                  <a:lnTo>
                    <a:pt x="417" y="267"/>
                  </a:lnTo>
                  <a:close/>
                  <a:moveTo>
                    <a:pt x="287" y="0"/>
                  </a:moveTo>
                  <a:lnTo>
                    <a:pt x="272" y="1"/>
                  </a:lnTo>
                  <a:lnTo>
                    <a:pt x="258" y="2"/>
                  </a:lnTo>
                  <a:lnTo>
                    <a:pt x="244" y="3"/>
                  </a:lnTo>
                  <a:lnTo>
                    <a:pt x="229" y="7"/>
                  </a:lnTo>
                  <a:lnTo>
                    <a:pt x="216" y="10"/>
                  </a:lnTo>
                  <a:lnTo>
                    <a:pt x="202" y="13"/>
                  </a:lnTo>
                  <a:lnTo>
                    <a:pt x="188" y="17"/>
                  </a:lnTo>
                  <a:lnTo>
                    <a:pt x="175" y="23"/>
                  </a:lnTo>
                  <a:lnTo>
                    <a:pt x="163" y="29"/>
                  </a:lnTo>
                  <a:lnTo>
                    <a:pt x="150" y="36"/>
                  </a:lnTo>
                  <a:lnTo>
                    <a:pt x="139" y="42"/>
                  </a:lnTo>
                  <a:lnTo>
                    <a:pt x="127" y="50"/>
                  </a:lnTo>
                  <a:lnTo>
                    <a:pt x="116" y="57"/>
                  </a:lnTo>
                  <a:lnTo>
                    <a:pt x="105" y="66"/>
                  </a:lnTo>
                  <a:lnTo>
                    <a:pt x="95" y="75"/>
                  </a:lnTo>
                  <a:lnTo>
                    <a:pt x="85" y="85"/>
                  </a:lnTo>
                  <a:lnTo>
                    <a:pt x="75" y="95"/>
                  </a:lnTo>
                  <a:lnTo>
                    <a:pt x="66" y="104"/>
                  </a:lnTo>
                  <a:lnTo>
                    <a:pt x="57" y="116"/>
                  </a:lnTo>
                  <a:lnTo>
                    <a:pt x="50" y="127"/>
                  </a:lnTo>
                  <a:lnTo>
                    <a:pt x="42" y="139"/>
                  </a:lnTo>
                  <a:lnTo>
                    <a:pt x="36" y="150"/>
                  </a:lnTo>
                  <a:lnTo>
                    <a:pt x="29" y="163"/>
                  </a:lnTo>
                  <a:lnTo>
                    <a:pt x="23" y="175"/>
                  </a:lnTo>
                  <a:lnTo>
                    <a:pt x="18" y="188"/>
                  </a:lnTo>
                  <a:lnTo>
                    <a:pt x="13" y="202"/>
                  </a:lnTo>
                  <a:lnTo>
                    <a:pt x="10" y="215"/>
                  </a:lnTo>
                  <a:lnTo>
                    <a:pt x="7" y="229"/>
                  </a:lnTo>
                  <a:lnTo>
                    <a:pt x="4" y="243"/>
                  </a:lnTo>
                  <a:lnTo>
                    <a:pt x="2" y="258"/>
                  </a:lnTo>
                  <a:lnTo>
                    <a:pt x="1" y="272"/>
                  </a:lnTo>
                  <a:lnTo>
                    <a:pt x="0" y="287"/>
                  </a:lnTo>
                  <a:lnTo>
                    <a:pt x="1" y="302"/>
                  </a:lnTo>
                  <a:lnTo>
                    <a:pt x="2" y="316"/>
                  </a:lnTo>
                  <a:lnTo>
                    <a:pt x="4" y="331"/>
                  </a:lnTo>
                  <a:lnTo>
                    <a:pt x="7" y="345"/>
                  </a:lnTo>
                  <a:lnTo>
                    <a:pt x="10" y="358"/>
                  </a:lnTo>
                  <a:lnTo>
                    <a:pt x="13" y="371"/>
                  </a:lnTo>
                  <a:lnTo>
                    <a:pt x="18" y="385"/>
                  </a:lnTo>
                  <a:lnTo>
                    <a:pt x="23" y="398"/>
                  </a:lnTo>
                  <a:lnTo>
                    <a:pt x="29" y="411"/>
                  </a:lnTo>
                  <a:lnTo>
                    <a:pt x="36" y="423"/>
                  </a:lnTo>
                  <a:lnTo>
                    <a:pt x="42" y="435"/>
                  </a:lnTo>
                  <a:lnTo>
                    <a:pt x="50" y="446"/>
                  </a:lnTo>
                  <a:lnTo>
                    <a:pt x="57" y="457"/>
                  </a:lnTo>
                  <a:lnTo>
                    <a:pt x="66" y="469"/>
                  </a:lnTo>
                  <a:lnTo>
                    <a:pt x="75" y="479"/>
                  </a:lnTo>
                  <a:lnTo>
                    <a:pt x="85" y="489"/>
                  </a:lnTo>
                  <a:lnTo>
                    <a:pt x="95" y="498"/>
                  </a:lnTo>
                  <a:lnTo>
                    <a:pt x="105" y="508"/>
                  </a:lnTo>
                  <a:lnTo>
                    <a:pt x="116" y="516"/>
                  </a:lnTo>
                  <a:lnTo>
                    <a:pt x="127" y="524"/>
                  </a:lnTo>
                  <a:lnTo>
                    <a:pt x="139" y="531"/>
                  </a:lnTo>
                  <a:lnTo>
                    <a:pt x="150" y="538"/>
                  </a:lnTo>
                  <a:lnTo>
                    <a:pt x="163" y="544"/>
                  </a:lnTo>
                  <a:lnTo>
                    <a:pt x="175" y="550"/>
                  </a:lnTo>
                  <a:lnTo>
                    <a:pt x="188" y="555"/>
                  </a:lnTo>
                  <a:lnTo>
                    <a:pt x="202" y="560"/>
                  </a:lnTo>
                  <a:lnTo>
                    <a:pt x="216" y="563"/>
                  </a:lnTo>
                  <a:lnTo>
                    <a:pt x="229" y="567"/>
                  </a:lnTo>
                  <a:lnTo>
                    <a:pt x="244" y="570"/>
                  </a:lnTo>
                  <a:lnTo>
                    <a:pt x="258" y="571"/>
                  </a:lnTo>
                  <a:lnTo>
                    <a:pt x="272" y="572"/>
                  </a:lnTo>
                  <a:lnTo>
                    <a:pt x="287" y="573"/>
                  </a:lnTo>
                  <a:lnTo>
                    <a:pt x="302" y="572"/>
                  </a:lnTo>
                  <a:lnTo>
                    <a:pt x="316" y="571"/>
                  </a:lnTo>
                  <a:lnTo>
                    <a:pt x="331" y="570"/>
                  </a:lnTo>
                  <a:lnTo>
                    <a:pt x="344" y="567"/>
                  </a:lnTo>
                  <a:lnTo>
                    <a:pt x="358" y="563"/>
                  </a:lnTo>
                  <a:lnTo>
                    <a:pt x="371" y="560"/>
                  </a:lnTo>
                  <a:lnTo>
                    <a:pt x="385" y="555"/>
                  </a:lnTo>
                  <a:lnTo>
                    <a:pt x="398" y="550"/>
                  </a:lnTo>
                  <a:lnTo>
                    <a:pt x="411" y="544"/>
                  </a:lnTo>
                  <a:lnTo>
                    <a:pt x="423" y="538"/>
                  </a:lnTo>
                  <a:lnTo>
                    <a:pt x="435" y="531"/>
                  </a:lnTo>
                  <a:lnTo>
                    <a:pt x="446" y="524"/>
                  </a:lnTo>
                  <a:lnTo>
                    <a:pt x="458" y="516"/>
                  </a:lnTo>
                  <a:lnTo>
                    <a:pt x="469" y="508"/>
                  </a:lnTo>
                  <a:lnTo>
                    <a:pt x="479" y="498"/>
                  </a:lnTo>
                  <a:lnTo>
                    <a:pt x="489" y="489"/>
                  </a:lnTo>
                  <a:lnTo>
                    <a:pt x="498" y="479"/>
                  </a:lnTo>
                  <a:lnTo>
                    <a:pt x="507" y="469"/>
                  </a:lnTo>
                  <a:lnTo>
                    <a:pt x="516" y="457"/>
                  </a:lnTo>
                  <a:lnTo>
                    <a:pt x="524" y="446"/>
                  </a:lnTo>
                  <a:lnTo>
                    <a:pt x="531" y="435"/>
                  </a:lnTo>
                  <a:lnTo>
                    <a:pt x="539" y="423"/>
                  </a:lnTo>
                  <a:lnTo>
                    <a:pt x="544" y="411"/>
                  </a:lnTo>
                  <a:lnTo>
                    <a:pt x="550" y="398"/>
                  </a:lnTo>
                  <a:lnTo>
                    <a:pt x="556" y="385"/>
                  </a:lnTo>
                  <a:lnTo>
                    <a:pt x="560" y="371"/>
                  </a:lnTo>
                  <a:lnTo>
                    <a:pt x="563" y="358"/>
                  </a:lnTo>
                  <a:lnTo>
                    <a:pt x="566" y="345"/>
                  </a:lnTo>
                  <a:lnTo>
                    <a:pt x="570" y="331"/>
                  </a:lnTo>
                  <a:lnTo>
                    <a:pt x="571" y="316"/>
                  </a:lnTo>
                  <a:lnTo>
                    <a:pt x="572" y="302"/>
                  </a:lnTo>
                  <a:lnTo>
                    <a:pt x="573" y="287"/>
                  </a:lnTo>
                  <a:lnTo>
                    <a:pt x="572" y="272"/>
                  </a:lnTo>
                  <a:lnTo>
                    <a:pt x="571" y="258"/>
                  </a:lnTo>
                  <a:lnTo>
                    <a:pt x="570" y="243"/>
                  </a:lnTo>
                  <a:lnTo>
                    <a:pt x="566" y="229"/>
                  </a:lnTo>
                  <a:lnTo>
                    <a:pt x="563" y="215"/>
                  </a:lnTo>
                  <a:lnTo>
                    <a:pt x="560" y="202"/>
                  </a:lnTo>
                  <a:lnTo>
                    <a:pt x="556" y="188"/>
                  </a:lnTo>
                  <a:lnTo>
                    <a:pt x="550" y="175"/>
                  </a:lnTo>
                  <a:lnTo>
                    <a:pt x="544" y="162"/>
                  </a:lnTo>
                  <a:lnTo>
                    <a:pt x="539" y="150"/>
                  </a:lnTo>
                  <a:lnTo>
                    <a:pt x="531" y="139"/>
                  </a:lnTo>
                  <a:lnTo>
                    <a:pt x="524" y="127"/>
                  </a:lnTo>
                  <a:lnTo>
                    <a:pt x="516" y="116"/>
                  </a:lnTo>
                  <a:lnTo>
                    <a:pt x="507" y="104"/>
                  </a:lnTo>
                  <a:lnTo>
                    <a:pt x="498" y="95"/>
                  </a:lnTo>
                  <a:lnTo>
                    <a:pt x="489" y="85"/>
                  </a:lnTo>
                  <a:lnTo>
                    <a:pt x="479" y="75"/>
                  </a:lnTo>
                  <a:lnTo>
                    <a:pt x="469" y="66"/>
                  </a:lnTo>
                  <a:lnTo>
                    <a:pt x="458" y="57"/>
                  </a:lnTo>
                  <a:lnTo>
                    <a:pt x="446" y="50"/>
                  </a:lnTo>
                  <a:lnTo>
                    <a:pt x="435" y="42"/>
                  </a:lnTo>
                  <a:lnTo>
                    <a:pt x="423" y="36"/>
                  </a:lnTo>
                  <a:lnTo>
                    <a:pt x="411" y="29"/>
                  </a:lnTo>
                  <a:lnTo>
                    <a:pt x="398" y="23"/>
                  </a:lnTo>
                  <a:lnTo>
                    <a:pt x="385" y="18"/>
                  </a:lnTo>
                  <a:lnTo>
                    <a:pt x="371" y="13"/>
                  </a:lnTo>
                  <a:lnTo>
                    <a:pt x="358" y="10"/>
                  </a:lnTo>
                  <a:lnTo>
                    <a:pt x="344" y="7"/>
                  </a:lnTo>
                  <a:lnTo>
                    <a:pt x="331" y="3"/>
                  </a:lnTo>
                  <a:lnTo>
                    <a:pt x="316" y="2"/>
                  </a:lnTo>
                  <a:lnTo>
                    <a:pt x="302" y="1"/>
                  </a:lnTo>
                  <a:lnTo>
                    <a:pt x="287" y="0"/>
                  </a:lnTo>
                  <a:lnTo>
                    <a:pt x="28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D5F8607D-8DEB-490F-AF57-5AD4018419A7}"/>
              </a:ext>
            </a:extLst>
          </p:cNvPr>
          <p:cNvCxnSpPr/>
          <p:nvPr/>
        </p:nvCxnSpPr>
        <p:spPr>
          <a:xfrm>
            <a:off x="736600" y="2981325"/>
            <a:ext cx="4629774" cy="0"/>
          </a:xfrm>
          <a:prstGeom prst="line">
            <a:avLst/>
          </a:prstGeom>
          <a:ln w="6350">
            <a:solidFill>
              <a:schemeClr val="bg1">
                <a:lumMod val="95000"/>
                <a:alpha val="92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D556AE28-DF2B-4E46-B7B5-C30C9A9332C3}"/>
              </a:ext>
            </a:extLst>
          </p:cNvPr>
          <p:cNvCxnSpPr>
            <a:cxnSpLocks/>
          </p:cNvCxnSpPr>
          <p:nvPr/>
        </p:nvCxnSpPr>
        <p:spPr>
          <a:xfrm>
            <a:off x="736600" y="4591050"/>
            <a:ext cx="3301105" cy="0"/>
          </a:xfrm>
          <a:prstGeom prst="line">
            <a:avLst/>
          </a:prstGeom>
          <a:ln w="6350">
            <a:solidFill>
              <a:schemeClr val="bg1">
                <a:lumMod val="95000"/>
                <a:alpha val="92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itle 3">
            <a:extLst>
              <a:ext uri="{FF2B5EF4-FFF2-40B4-BE49-F238E27FC236}">
                <a16:creationId xmlns:a16="http://schemas.microsoft.com/office/drawing/2014/main" id="{898164B7-1A45-4D0E-96BE-9B66E93B5736}"/>
              </a:ext>
            </a:extLst>
          </p:cNvPr>
          <p:cNvSpPr txBox="1">
            <a:spLocks/>
          </p:cNvSpPr>
          <p:nvPr/>
        </p:nvSpPr>
        <p:spPr>
          <a:xfrm>
            <a:off x="736600" y="773044"/>
            <a:ext cx="9359665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378" rtl="0" eaLnBrk="1" latinLnBrk="0" hangingPunct="1">
              <a:lnSpc>
                <a:spcPts val="4300"/>
              </a:lnSpc>
              <a:spcBef>
                <a:spcPct val="0"/>
              </a:spcBef>
              <a:buNone/>
              <a:defRPr lang="nn-NO" sz="4000" b="0" i="0" kern="1200" cap="none" spc="0" baseline="0" noProof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br>
              <a:rPr lang="en-US" dirty="0">
                <a:solidFill>
                  <a:schemeClr val="accent1"/>
                </a:solidFill>
                <a:latin typeface="Oscine" panose="020B0506040202020204" pitchFamily="34" charset="0"/>
                <a:ea typeface="+mn-ea"/>
                <a:cs typeface="Oscine" panose="020B0506040202020204" pitchFamily="34" charset="0"/>
              </a:rPr>
            </a:br>
            <a:r>
              <a:rPr lang="en-US" sz="2000" dirty="0">
                <a:solidFill>
                  <a:schemeClr val="accent1"/>
                </a:solidFill>
                <a:latin typeface="Oscine" panose="020B0506040202020204" pitchFamily="34" charset="0"/>
                <a:cs typeface="Oscine" panose="020B0506040202020204" pitchFamily="34" charset="0"/>
              </a:rPr>
              <a:t>Product Portfolio addresses several automation needs in your supply chain that was previously perceived unreachable</a:t>
            </a:r>
            <a:endParaRPr lang="en-US" sz="2000" dirty="0">
              <a:solidFill>
                <a:srgbClr val="0070C0"/>
              </a:solidFill>
              <a:latin typeface="Oscine" panose="020B0506040202020204" pitchFamily="34" charset="0"/>
              <a:ea typeface="+mn-ea"/>
              <a:cs typeface="Oscine" panose="020B050604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5908145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ontortema">
  <a:themeElements>
    <a:clrScheme name="MIR">
      <a:dk1>
        <a:sysClr val="windowText" lastClr="000000"/>
      </a:dk1>
      <a:lt1>
        <a:sysClr val="window" lastClr="FFFFFF"/>
      </a:lt1>
      <a:dk2>
        <a:srgbClr val="FFA100"/>
      </a:dk2>
      <a:lt2>
        <a:srgbClr val="DE3731"/>
      </a:lt2>
      <a:accent1>
        <a:srgbClr val="4B92DB"/>
      </a:accent1>
      <a:accent2>
        <a:srgbClr val="002776"/>
      </a:accent2>
      <a:accent3>
        <a:srgbClr val="72C7E7"/>
      </a:accent3>
      <a:accent4>
        <a:srgbClr val="ADAFAF"/>
      </a:accent4>
      <a:accent5>
        <a:srgbClr val="E8E7E9"/>
      </a:accent5>
      <a:accent6>
        <a:srgbClr val="7AB800"/>
      </a:accent6>
      <a:hlink>
        <a:srgbClr val="00109E"/>
      </a:hlink>
      <a:folHlink>
        <a:srgbClr val="6D62A5"/>
      </a:folHlink>
    </a:clrScheme>
    <a:fontScheme name="Mir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IR presentation 16_9.potx" id="{12364251-EC23-4171-8C4D-270BC4816F62}" vid="{4A913679-06D5-4B45-A877-E34866715669}"/>
    </a:ext>
  </a:extLst>
</a:theme>
</file>

<file path=ppt/theme/theme2.xml><?xml version="1.0" encoding="utf-8"?>
<a:theme xmlns:a="http://schemas.openxmlformats.org/drawingml/2006/main" name="1_Kontortema">
  <a:themeElements>
    <a:clrScheme name="MIR">
      <a:dk1>
        <a:sysClr val="windowText" lastClr="000000"/>
      </a:dk1>
      <a:lt1>
        <a:sysClr val="window" lastClr="FFFFFF"/>
      </a:lt1>
      <a:dk2>
        <a:srgbClr val="FFA100"/>
      </a:dk2>
      <a:lt2>
        <a:srgbClr val="DE3731"/>
      </a:lt2>
      <a:accent1>
        <a:srgbClr val="4B92DB"/>
      </a:accent1>
      <a:accent2>
        <a:srgbClr val="002776"/>
      </a:accent2>
      <a:accent3>
        <a:srgbClr val="72C7E7"/>
      </a:accent3>
      <a:accent4>
        <a:srgbClr val="ADAFAF"/>
      </a:accent4>
      <a:accent5>
        <a:srgbClr val="E8E7E9"/>
      </a:accent5>
      <a:accent6>
        <a:srgbClr val="7AB800"/>
      </a:accent6>
      <a:hlink>
        <a:srgbClr val="00109E"/>
      </a:hlink>
      <a:folHlink>
        <a:srgbClr val="6D62A5"/>
      </a:folHlink>
    </a:clrScheme>
    <a:fontScheme name="Mir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template.pptx" id="{0E85F953-2AC3-4F03-BAB6-4A62AE6CD181}" vid="{DDA3B537-47C1-4E2C-B36D-11A60862B121}"/>
    </a:ext>
  </a:extLst>
</a:theme>
</file>

<file path=ppt/theme/theme3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9925294A0516F744B4F66BD6B7839054" ma:contentTypeVersion="11" ma:contentTypeDescription="Opret et nyt dokument." ma:contentTypeScope="" ma:versionID="9d68d52e3c9359d0535a475971384206">
  <xsd:schema xmlns:xsd="http://www.w3.org/2001/XMLSchema" xmlns:xs="http://www.w3.org/2001/XMLSchema" xmlns:p="http://schemas.microsoft.com/office/2006/metadata/properties" xmlns:ns3="f4130e19-b80c-412f-9d6a-7022c5992fb5" xmlns:ns4="456239e0-4590-4252-9bef-a1d6970f28ec" targetNamespace="http://schemas.microsoft.com/office/2006/metadata/properties" ma:root="true" ma:fieldsID="a16dee013b3324c7380d2171c7de51d6" ns3:_="" ns4:_="">
    <xsd:import namespace="f4130e19-b80c-412f-9d6a-7022c5992fb5"/>
    <xsd:import namespace="456239e0-4590-4252-9bef-a1d6970f28ec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130e19-b80c-412f-9d6a-7022c5992fb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6239e0-4590-4252-9bef-a1d6970f28ec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Delt med detaljer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Hashværdi for deling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6641976-EDFC-4DC2-85DA-F0D183A12D41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BF6792B1-5125-48ED-A7D1-36CB7186D1D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4130e19-b80c-412f-9d6a-7022c5992fb5"/>
    <ds:schemaRef ds:uri="456239e0-4590-4252-9bef-a1d6970f28e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3C25106-69D3-4379-A7F8-285FBAF7AD9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823</TotalTime>
  <Words>585</Words>
  <Application>Microsoft Office PowerPoint</Application>
  <PresentationFormat>Widescreen</PresentationFormat>
  <Paragraphs>152</Paragraphs>
  <Slides>11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2" baseType="lpstr">
      <vt:lpstr>Arial</vt:lpstr>
      <vt:lpstr>Calibri</vt:lpstr>
      <vt:lpstr>Montserrat SemiBold</vt:lpstr>
      <vt:lpstr>Open sans</vt:lpstr>
      <vt:lpstr>Open sans</vt:lpstr>
      <vt:lpstr>Open Sans Semibold</vt:lpstr>
      <vt:lpstr>Oscine</vt:lpstr>
      <vt:lpstr>Wingdings</vt:lpstr>
      <vt:lpstr>Kontortema</vt:lpstr>
      <vt:lpstr>1_Kontortema</vt:lpstr>
      <vt:lpstr>think-cell Slide</vt:lpstr>
      <vt:lpstr>MiR collaborative mobile robots  – boosting Safetey, efficiency and agility</vt:lpstr>
      <vt:lpstr>Changing market demands</vt:lpstr>
      <vt:lpstr>PowerPoint Presentation</vt:lpstr>
      <vt:lpstr>PowerPoint Presentation</vt:lpstr>
      <vt:lpstr>Internal logistics in the Future</vt:lpstr>
      <vt:lpstr>The Company Today</vt:lpstr>
      <vt:lpstr>PowerPoint Presentation</vt:lpstr>
      <vt:lpstr>PowerPoint Presentation</vt:lpstr>
      <vt:lpstr>Solution Overview</vt:lpstr>
      <vt:lpstr>PowerPoint Presentation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R | a better way</dc:title>
  <dc:creator>Rasmus Smet Jensen</dc:creator>
  <cp:lastModifiedBy>Allan Knudsen</cp:lastModifiedBy>
  <cp:revision>315</cp:revision>
  <cp:lastPrinted>2020-01-23T09:32:41Z</cp:lastPrinted>
  <dcterms:created xsi:type="dcterms:W3CDTF">2019-05-01T06:32:46Z</dcterms:created>
  <dcterms:modified xsi:type="dcterms:W3CDTF">2023-11-23T12:36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925294A0516F744B4F66BD6B7839054</vt:lpwstr>
  </property>
</Properties>
</file>